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4.xml" ContentType="application/vnd.openxmlformats-officedocument.presentationml.notesSlide+xml"/>
  <Override PartName="/ppt/tags/tag15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5820" r:id="rId1"/>
    <p:sldMasterId id="2147485834" r:id="rId2"/>
  </p:sldMasterIdLst>
  <p:notesMasterIdLst>
    <p:notesMasterId r:id="rId102"/>
  </p:notesMasterIdLst>
  <p:handoutMasterIdLst>
    <p:handoutMasterId r:id="rId103"/>
  </p:handoutMasterIdLst>
  <p:sldIdLst>
    <p:sldId id="256" r:id="rId3"/>
    <p:sldId id="765" r:id="rId4"/>
    <p:sldId id="778" r:id="rId5"/>
    <p:sldId id="801" r:id="rId6"/>
    <p:sldId id="773" r:id="rId7"/>
    <p:sldId id="814" r:id="rId8"/>
    <p:sldId id="661" r:id="rId9"/>
    <p:sldId id="662" r:id="rId10"/>
    <p:sldId id="799" r:id="rId11"/>
    <p:sldId id="774" r:id="rId12"/>
    <p:sldId id="663" r:id="rId13"/>
    <p:sldId id="664" r:id="rId14"/>
    <p:sldId id="783" r:id="rId15"/>
    <p:sldId id="784" r:id="rId16"/>
    <p:sldId id="785" r:id="rId17"/>
    <p:sldId id="724" r:id="rId18"/>
    <p:sldId id="824" r:id="rId19"/>
    <p:sldId id="825" r:id="rId20"/>
    <p:sldId id="826" r:id="rId21"/>
    <p:sldId id="827" r:id="rId22"/>
    <p:sldId id="828" r:id="rId23"/>
    <p:sldId id="829" r:id="rId24"/>
    <p:sldId id="666" r:id="rId25"/>
    <p:sldId id="707" r:id="rId26"/>
    <p:sldId id="786" r:id="rId27"/>
    <p:sldId id="669" r:id="rId28"/>
    <p:sldId id="670" r:id="rId29"/>
    <p:sldId id="671" r:id="rId30"/>
    <p:sldId id="787" r:id="rId31"/>
    <p:sldId id="808" r:id="rId32"/>
    <p:sldId id="809" r:id="rId33"/>
    <p:sldId id="810" r:id="rId34"/>
    <p:sldId id="811" r:id="rId35"/>
    <p:sldId id="812" r:id="rId36"/>
    <p:sldId id="813" r:id="rId37"/>
    <p:sldId id="819" r:id="rId38"/>
    <p:sldId id="820" r:id="rId39"/>
    <p:sldId id="821" r:id="rId40"/>
    <p:sldId id="822" r:id="rId41"/>
    <p:sldId id="823" r:id="rId42"/>
    <p:sldId id="673" r:id="rId43"/>
    <p:sldId id="674" r:id="rId44"/>
    <p:sldId id="798" r:id="rId45"/>
    <p:sldId id="775" r:id="rId46"/>
    <p:sldId id="772" r:id="rId47"/>
    <p:sldId id="676" r:id="rId48"/>
    <p:sldId id="677" r:id="rId49"/>
    <p:sldId id="678" r:id="rId50"/>
    <p:sldId id="818" r:id="rId51"/>
    <p:sldId id="817" r:id="rId52"/>
    <p:sldId id="679" r:id="rId53"/>
    <p:sldId id="803" r:id="rId54"/>
    <p:sldId id="804" r:id="rId55"/>
    <p:sldId id="805" r:id="rId56"/>
    <p:sldId id="806" r:id="rId57"/>
    <p:sldId id="776" r:id="rId58"/>
    <p:sldId id="802" r:id="rId59"/>
    <p:sldId id="680" r:id="rId60"/>
    <p:sldId id="830" r:id="rId61"/>
    <p:sldId id="727" r:id="rId62"/>
    <p:sldId id="831" r:id="rId63"/>
    <p:sldId id="747" r:id="rId64"/>
    <p:sldId id="748" r:id="rId65"/>
    <p:sldId id="749" r:id="rId66"/>
    <p:sldId id="750" r:id="rId67"/>
    <p:sldId id="751" r:id="rId68"/>
    <p:sldId id="752" r:id="rId69"/>
    <p:sldId id="713" r:id="rId70"/>
    <p:sldId id="779" r:id="rId71"/>
    <p:sldId id="832" r:id="rId72"/>
    <p:sldId id="833" r:id="rId73"/>
    <p:sldId id="834" r:id="rId74"/>
    <p:sldId id="683" r:id="rId75"/>
    <p:sldId id="684" r:id="rId76"/>
    <p:sldId id="685" r:id="rId77"/>
    <p:sldId id="711" r:id="rId78"/>
    <p:sldId id="712" r:id="rId79"/>
    <p:sldId id="788" r:id="rId80"/>
    <p:sldId id="718" r:id="rId81"/>
    <p:sldId id="719" r:id="rId82"/>
    <p:sldId id="720" r:id="rId83"/>
    <p:sldId id="769" r:id="rId84"/>
    <p:sldId id="687" r:id="rId85"/>
    <p:sldId id="688" r:id="rId86"/>
    <p:sldId id="689" r:id="rId87"/>
    <p:sldId id="690" r:id="rId88"/>
    <p:sldId id="691" r:id="rId89"/>
    <p:sldId id="796" r:id="rId90"/>
    <p:sldId id="693" r:id="rId91"/>
    <p:sldId id="815" r:id="rId92"/>
    <p:sldId id="816" r:id="rId93"/>
    <p:sldId id="694" r:id="rId94"/>
    <p:sldId id="695" r:id="rId95"/>
    <p:sldId id="701" r:id="rId96"/>
    <p:sldId id="797" r:id="rId97"/>
    <p:sldId id="789" r:id="rId98"/>
    <p:sldId id="703" r:id="rId99"/>
    <p:sldId id="753" r:id="rId100"/>
    <p:sldId id="706" r:id="rId101"/>
  </p:sldIdLst>
  <p:sldSz cx="12195175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2FB01E2-5E59-48BD-9186-6828A7700538}">
          <p14:sldIdLst>
            <p14:sldId id="256"/>
            <p14:sldId id="765"/>
            <p14:sldId id="778"/>
            <p14:sldId id="801"/>
            <p14:sldId id="773"/>
            <p14:sldId id="814"/>
            <p14:sldId id="661"/>
            <p14:sldId id="662"/>
            <p14:sldId id="799"/>
            <p14:sldId id="774"/>
            <p14:sldId id="663"/>
            <p14:sldId id="664"/>
            <p14:sldId id="783"/>
            <p14:sldId id="784"/>
            <p14:sldId id="785"/>
            <p14:sldId id="724"/>
            <p14:sldId id="824"/>
            <p14:sldId id="825"/>
            <p14:sldId id="826"/>
            <p14:sldId id="827"/>
            <p14:sldId id="828"/>
            <p14:sldId id="829"/>
            <p14:sldId id="666"/>
            <p14:sldId id="707"/>
            <p14:sldId id="786"/>
            <p14:sldId id="669"/>
            <p14:sldId id="670"/>
            <p14:sldId id="671"/>
            <p14:sldId id="787"/>
            <p14:sldId id="808"/>
            <p14:sldId id="809"/>
            <p14:sldId id="810"/>
            <p14:sldId id="811"/>
            <p14:sldId id="812"/>
            <p14:sldId id="813"/>
            <p14:sldId id="819"/>
            <p14:sldId id="820"/>
            <p14:sldId id="821"/>
            <p14:sldId id="822"/>
            <p14:sldId id="823"/>
            <p14:sldId id="673"/>
            <p14:sldId id="674"/>
            <p14:sldId id="798"/>
            <p14:sldId id="775"/>
            <p14:sldId id="772"/>
            <p14:sldId id="676"/>
            <p14:sldId id="677"/>
            <p14:sldId id="678"/>
            <p14:sldId id="818"/>
            <p14:sldId id="817"/>
            <p14:sldId id="679"/>
            <p14:sldId id="803"/>
            <p14:sldId id="804"/>
            <p14:sldId id="805"/>
            <p14:sldId id="806"/>
            <p14:sldId id="776"/>
            <p14:sldId id="802"/>
            <p14:sldId id="680"/>
            <p14:sldId id="830"/>
            <p14:sldId id="727"/>
            <p14:sldId id="831"/>
            <p14:sldId id="747"/>
            <p14:sldId id="748"/>
            <p14:sldId id="749"/>
            <p14:sldId id="750"/>
            <p14:sldId id="751"/>
            <p14:sldId id="752"/>
            <p14:sldId id="713"/>
            <p14:sldId id="779"/>
            <p14:sldId id="832"/>
            <p14:sldId id="833"/>
            <p14:sldId id="834"/>
            <p14:sldId id="683"/>
            <p14:sldId id="684"/>
            <p14:sldId id="685"/>
            <p14:sldId id="711"/>
            <p14:sldId id="712"/>
            <p14:sldId id="788"/>
            <p14:sldId id="718"/>
            <p14:sldId id="719"/>
            <p14:sldId id="720"/>
            <p14:sldId id="769"/>
            <p14:sldId id="687"/>
            <p14:sldId id="688"/>
            <p14:sldId id="689"/>
            <p14:sldId id="690"/>
            <p14:sldId id="691"/>
            <p14:sldId id="796"/>
            <p14:sldId id="693"/>
            <p14:sldId id="815"/>
            <p14:sldId id="816"/>
            <p14:sldId id="694"/>
            <p14:sldId id="695"/>
            <p14:sldId id="701"/>
            <p14:sldId id="797"/>
            <p14:sldId id="789"/>
            <p14:sldId id="703"/>
            <p14:sldId id="753"/>
            <p14:sldId id="7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08080"/>
    <a:srgbClr val="DBFDAA"/>
    <a:srgbClr val="FC6E51"/>
    <a:srgbClr val="A6ECFF"/>
    <a:srgbClr val="89D4CA"/>
    <a:srgbClr val="FBEAA2"/>
    <a:srgbClr val="E9573F"/>
    <a:srgbClr val="14AA96"/>
    <a:srgbClr val="F6BB42"/>
    <a:srgbClr val="D719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356EF4-7E21-4F75-A10B-EFE098488F34}" v="4" dt="2020-11-10T08:55:02.784"/>
    <p1510:client id="{E72F37DA-7C28-46D8-97DE-2929DE4411AE}" v="3" dt="2020-11-10T07:36:40.1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991" autoAdjust="0"/>
    <p:restoredTop sz="97467" autoAdjust="0"/>
  </p:normalViewPr>
  <p:slideViewPr>
    <p:cSldViewPr snapToGrid="0">
      <p:cViewPr>
        <p:scale>
          <a:sx n="125" d="100"/>
          <a:sy n="125" d="100"/>
        </p:scale>
        <p:origin x="612" y="960"/>
      </p:cViewPr>
      <p:guideLst>
        <p:guide orient="horz" pos="2161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07" Type="http://schemas.openxmlformats.org/officeDocument/2006/relationships/tableStyles" Target="tableStyles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handoutMaster" Target="handoutMasters/handoutMaster1.xml"/><Relationship Id="rId108" Type="http://schemas.microsoft.com/office/2015/10/relationships/revisionInfo" Target="revisionInfo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theme" Target="theme/theme1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DD1E7C-AB4F-40F5-B28F-33E92FB44C79}" type="doc">
      <dgm:prSet loTypeId="urn:microsoft.com/office/officeart/2005/8/layout/h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7BD0A7F-9A88-4A6C-9651-4A64501D2B59}">
      <dgm:prSet phldrT="[Текст]"/>
      <dgm:spPr>
        <a:noFill/>
        <a:ln>
          <a:noFill/>
        </a:ln>
      </dgm:spPr>
      <dgm:t>
        <a:bodyPr/>
        <a:lstStyle/>
        <a:p>
          <a:pPr algn="l"/>
          <a:r>
            <a:rPr lang="ru-RU" b="1" dirty="0">
              <a:solidFill>
                <a:srgbClr val="FC6E51"/>
              </a:solidFill>
            </a:rPr>
            <a:t>Кого оцениваем?</a:t>
          </a:r>
        </a:p>
      </dgm:t>
    </dgm:pt>
    <dgm:pt modelId="{EEDF589B-9AEC-48DB-A188-F46E2E88D46A}" type="parTrans" cxnId="{6C96AA3F-5A49-4AAA-AB9D-87040B4FE5CD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0EC81899-20B9-4DC5-94BB-34F3812BDF55}" type="sibTrans" cxnId="{6C96AA3F-5A49-4AAA-AB9D-87040B4FE5CD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BB77D1CB-2991-4919-BDE7-472DA95CC052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Покупатели</a:t>
          </a:r>
        </a:p>
      </dgm:t>
    </dgm:pt>
    <dgm:pt modelId="{201870FC-D404-4BE3-8639-2A6469CB9670}" type="parTrans" cxnId="{7A6DB604-3698-4EE8-8B18-2D7235B6FE58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7100ACD8-5886-42B2-9BA4-EFDA4C71E573}" type="sibTrans" cxnId="{7A6DB604-3698-4EE8-8B18-2D7235B6FE58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C359EBEE-424D-49E9-A959-936E61D8D8E2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Поставщики</a:t>
          </a:r>
        </a:p>
      </dgm:t>
    </dgm:pt>
    <dgm:pt modelId="{D7882BCE-2256-4F4C-89A6-8CD405713954}" type="parTrans" cxnId="{CDDF1936-86EA-4B4E-A717-F80CD5E9E235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0DCBD472-74A3-4502-A7D1-12975074738F}" type="sibTrans" cxnId="{CDDF1936-86EA-4B4E-A717-F80CD5E9E235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C4EC96ED-8541-4F15-8697-64957EE025EF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Банки</a:t>
          </a:r>
        </a:p>
      </dgm:t>
    </dgm:pt>
    <dgm:pt modelId="{67304C25-30E8-45AA-93F5-016FFF8D6297}" type="parTrans" cxnId="{9C137BDC-7920-44CA-A82B-4E69DF2EBA16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CDEF345E-1EF1-41A2-A6C7-AB04221638D8}" type="sibTrans" cxnId="{9C137BDC-7920-44CA-A82B-4E69DF2EBA16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4BBFF0BA-FA7D-4262-B6B2-C21680CE0EF3}">
      <dgm:prSet phldrT="[Текст]"/>
      <dgm:spPr>
        <a:noFill/>
        <a:ln>
          <a:noFill/>
        </a:ln>
      </dgm:spPr>
      <dgm:t>
        <a:bodyPr/>
        <a:lstStyle/>
        <a:p>
          <a:pPr algn="l"/>
          <a:r>
            <a:rPr lang="ru-RU" b="1" dirty="0">
              <a:solidFill>
                <a:srgbClr val="FC6E51"/>
              </a:solidFill>
            </a:rPr>
            <a:t>Что оцениваем?</a:t>
          </a:r>
        </a:p>
      </dgm:t>
    </dgm:pt>
    <dgm:pt modelId="{97F2D38A-83EB-4211-A02E-B577A84D0E2A}" type="parTrans" cxnId="{0E1AF209-1D19-4E2F-91C5-175EA89E328D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D8210D40-10FF-46B4-9839-7D62AE07EE32}" type="sibTrans" cxnId="{0E1AF209-1D19-4E2F-91C5-175EA89E328D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7122FD0E-25A8-43C7-A70E-5F26FA4DEE60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Риск</a:t>
          </a:r>
        </a:p>
      </dgm:t>
    </dgm:pt>
    <dgm:pt modelId="{A52B4C88-59D2-4A0C-890C-FED8ED0936AE}" type="parTrans" cxnId="{DDFE80E1-E3B0-46BC-984F-951D95841055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F472C6AE-8DB4-4770-8533-5846DC07B1C7}" type="sibTrans" cxnId="{DDFE80E1-E3B0-46BC-984F-951D95841055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D6B319AC-ECE1-480B-9859-8F50390F573C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Доходность</a:t>
          </a:r>
        </a:p>
      </dgm:t>
    </dgm:pt>
    <dgm:pt modelId="{9E738843-4040-4326-9FB4-28830072096D}" type="parTrans" cxnId="{A33091AB-841E-4C5D-A147-F948B45E87A4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65B839AF-B2AD-4EF0-8034-5B576171615B}" type="sibTrans" cxnId="{A33091AB-841E-4C5D-A147-F948B45E87A4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F9E4E5A7-4E4D-4FFE-84E6-00C832863C72}">
      <dgm:prSet phldrT="[Текст]"/>
      <dgm:spPr>
        <a:noFill/>
        <a:ln>
          <a:noFill/>
        </a:ln>
      </dgm:spPr>
      <dgm:t>
        <a:bodyPr/>
        <a:lstStyle/>
        <a:p>
          <a:pPr algn="l"/>
          <a:r>
            <a:rPr lang="ru-RU" b="1" dirty="0">
              <a:solidFill>
                <a:srgbClr val="FC6E51"/>
              </a:solidFill>
            </a:rPr>
            <a:t>Политика</a:t>
          </a:r>
        </a:p>
      </dgm:t>
    </dgm:pt>
    <dgm:pt modelId="{B94D3F72-C05A-4BB2-B0F4-DC428861B83B}" type="parTrans" cxnId="{38937A8F-648E-4306-87F0-653CFE69E21B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D7DF93DF-428B-4930-9E6A-527347FE52C2}" type="sibTrans" cxnId="{38937A8F-648E-4306-87F0-653CFE69E21B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754A5B29-D53E-4BC5-9F71-8B11CFA0E7E7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Лимит задолженности</a:t>
          </a:r>
        </a:p>
      </dgm:t>
    </dgm:pt>
    <dgm:pt modelId="{476E0CED-D96C-4E0B-8214-52791DDC3449}" type="parTrans" cxnId="{F50809AA-2FE2-45D2-A458-78BB0E357CF0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82E37B24-922F-4E7C-B6B2-B49AFF010AD8}" type="sibTrans" cxnId="{F50809AA-2FE2-45D2-A458-78BB0E357CF0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7BBFDD25-AB51-413B-BD11-05A0C2D127E4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Условия сделок</a:t>
          </a:r>
        </a:p>
      </dgm:t>
    </dgm:pt>
    <dgm:pt modelId="{1990C7D9-C211-457F-9704-24F43455650A}" type="parTrans" cxnId="{E7F324DE-8D06-45C9-A582-CC9F476B53FE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70BEF7D4-7979-46A8-9945-C29367A6712A}" type="sibTrans" cxnId="{E7F324DE-8D06-45C9-A582-CC9F476B53FE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98245B6F-8500-4573-82BB-D1EADF4136C6}">
      <dgm:prSet phldrT="[Текст]"/>
      <dgm:spPr>
        <a:noFill/>
        <a:ln>
          <a:noFill/>
        </a:ln>
      </dgm:spPr>
      <dgm:t>
        <a:bodyPr/>
        <a:lstStyle/>
        <a:p>
          <a:pPr algn="l"/>
          <a:r>
            <a:rPr lang="ru-RU" b="1" dirty="0">
              <a:solidFill>
                <a:srgbClr val="FC6E51"/>
              </a:solidFill>
            </a:rPr>
            <a:t>Контроль</a:t>
          </a:r>
        </a:p>
      </dgm:t>
    </dgm:pt>
    <dgm:pt modelId="{DBAFDA64-6CEE-4F6D-AD49-C7CDEB163164}" type="parTrans" cxnId="{735F5B9F-DF33-4D8F-AC09-6AA1E9866970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C92DAAF0-582E-4727-A5A5-7A7EF8C7D075}" type="sibTrans" cxnId="{735F5B9F-DF33-4D8F-AC09-6AA1E9866970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9D708545-C451-438E-9D5F-F857DE6B3375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В договорах</a:t>
          </a:r>
        </a:p>
      </dgm:t>
    </dgm:pt>
    <dgm:pt modelId="{29647491-56F0-43D4-BBC5-158EB775E1B4}" type="parTrans" cxnId="{8CC67ECE-8B36-491D-B699-49EA7EB0A32F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96302C5E-2BAF-4CF0-9468-7CF53A234451}" type="sibTrans" cxnId="{8CC67ECE-8B36-491D-B699-49EA7EB0A32F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C9E48598-F5F1-49E4-B742-E96FEB09B262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В заявках</a:t>
          </a:r>
        </a:p>
      </dgm:t>
    </dgm:pt>
    <dgm:pt modelId="{E060CB42-32B6-4CB3-BF63-3A2EFCE926DC}" type="parTrans" cxnId="{892783F9-8980-4612-A502-22A7DA173E5D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2ED5C589-0A61-4281-B5A4-E766C0D526F5}" type="sibTrans" cxnId="{892783F9-8980-4612-A502-22A7DA173E5D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DAEDE066-88A9-4B91-803C-185AC1DC6F85}">
      <dgm:prSet phldrT="[Текст]"/>
      <dgm:spPr>
        <a:noFill/>
        <a:ln>
          <a:noFill/>
        </a:ln>
      </dgm:spPr>
      <dgm:t>
        <a:bodyPr/>
        <a:lstStyle/>
        <a:p>
          <a:r>
            <a:rPr lang="ru-RU" dirty="0">
              <a:solidFill>
                <a:srgbClr val="808080"/>
              </a:solidFill>
            </a:rPr>
            <a:t>В платежном календаре</a:t>
          </a:r>
        </a:p>
      </dgm:t>
    </dgm:pt>
    <dgm:pt modelId="{CF4BB9BD-9CC6-4531-B532-67386EBF9EF6}" type="parTrans" cxnId="{DB0D1437-E8CA-405A-9877-144700277221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78B57CC0-92BC-4571-962A-99C53A707403}" type="sibTrans" cxnId="{DB0D1437-E8CA-405A-9877-144700277221}">
      <dgm:prSet/>
      <dgm:spPr/>
      <dgm:t>
        <a:bodyPr/>
        <a:lstStyle/>
        <a:p>
          <a:endParaRPr lang="ru-RU">
            <a:solidFill>
              <a:schemeClr val="bg2"/>
            </a:solidFill>
          </a:endParaRPr>
        </a:p>
      </dgm:t>
    </dgm:pt>
    <dgm:pt modelId="{C5C709C1-43BA-4B2F-8FA8-1474172B075B}" type="pres">
      <dgm:prSet presAssocID="{DADD1E7C-AB4F-40F5-B28F-33E92FB44C7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CB31884-50A1-4854-9B48-D304431F7784}" type="pres">
      <dgm:prSet presAssocID="{37BD0A7F-9A88-4A6C-9651-4A64501D2B59}" presName="composite" presStyleCnt="0"/>
      <dgm:spPr/>
    </dgm:pt>
    <dgm:pt modelId="{C70EB050-E996-4F38-BF22-0443B943C14D}" type="pres">
      <dgm:prSet presAssocID="{37BD0A7F-9A88-4A6C-9651-4A64501D2B59}" presName="parTx" presStyleLbl="alignNode1" presStyleIdx="0" presStyleCnt="4" custScaleX="11403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5FDE44-94E4-49F9-A3F5-2A646634551D}" type="pres">
      <dgm:prSet presAssocID="{37BD0A7F-9A88-4A6C-9651-4A64501D2B59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87899C-52F8-4858-9CBE-0EC2E6DB6969}" type="pres">
      <dgm:prSet presAssocID="{0EC81899-20B9-4DC5-94BB-34F3812BDF55}" presName="space" presStyleCnt="0"/>
      <dgm:spPr/>
    </dgm:pt>
    <dgm:pt modelId="{45F9C884-F7EE-474D-B00E-A30CEF496AD2}" type="pres">
      <dgm:prSet presAssocID="{4BBFF0BA-FA7D-4262-B6B2-C21680CE0EF3}" presName="composite" presStyleCnt="0"/>
      <dgm:spPr/>
    </dgm:pt>
    <dgm:pt modelId="{E9C23157-C44C-4EB7-9D5B-CB32625C709B}" type="pres">
      <dgm:prSet presAssocID="{4BBFF0BA-FA7D-4262-B6B2-C21680CE0EF3}" presName="parTx" presStyleLbl="alignNode1" presStyleIdx="1" presStyleCnt="4" custScaleX="1185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15583F-5EB1-43DD-B205-5217702ED3BD}" type="pres">
      <dgm:prSet presAssocID="{4BBFF0BA-FA7D-4262-B6B2-C21680CE0EF3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6CBAC4-2A1E-4E8E-ABD0-31F4235AABC8}" type="pres">
      <dgm:prSet presAssocID="{D8210D40-10FF-46B4-9839-7D62AE07EE32}" presName="space" presStyleCnt="0"/>
      <dgm:spPr/>
    </dgm:pt>
    <dgm:pt modelId="{C63A41A1-3B22-4E6F-9CAC-14E082730B7A}" type="pres">
      <dgm:prSet presAssocID="{F9E4E5A7-4E4D-4FFE-84E6-00C832863C72}" presName="composite" presStyleCnt="0"/>
      <dgm:spPr/>
    </dgm:pt>
    <dgm:pt modelId="{F0F9BB9D-2F90-457C-8648-6E51E4C4FEE7}" type="pres">
      <dgm:prSet presAssocID="{F9E4E5A7-4E4D-4FFE-84E6-00C832863C72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09FE88-9531-42F1-9667-C80303E1880B}" type="pres">
      <dgm:prSet presAssocID="{F9E4E5A7-4E4D-4FFE-84E6-00C832863C72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6C21E9-841C-416C-B8C0-381A8427EE10}" type="pres">
      <dgm:prSet presAssocID="{D7DF93DF-428B-4930-9E6A-527347FE52C2}" presName="space" presStyleCnt="0"/>
      <dgm:spPr/>
    </dgm:pt>
    <dgm:pt modelId="{9EDDDC49-0AEE-498B-B106-B7D1A22C86A5}" type="pres">
      <dgm:prSet presAssocID="{98245B6F-8500-4573-82BB-D1EADF4136C6}" presName="composite" presStyleCnt="0"/>
      <dgm:spPr/>
    </dgm:pt>
    <dgm:pt modelId="{BD0C3421-A5FB-40B7-8CED-67167AAAA149}" type="pres">
      <dgm:prSet presAssocID="{98245B6F-8500-4573-82BB-D1EADF4136C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F5A6D9-6202-453D-A8F5-A7F5E2C53E05}" type="pres">
      <dgm:prSet presAssocID="{98245B6F-8500-4573-82BB-D1EADF4136C6}" presName="desTx" presStyleLbl="alignAccFollowNode1" presStyleIdx="3" presStyleCnt="4" custLinFactNeighborX="15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A04DB3E-7499-43FF-9744-26A49F456D2E}" type="presOf" srcId="{DADD1E7C-AB4F-40F5-B28F-33E92FB44C79}" destId="{C5C709C1-43BA-4B2F-8FA8-1474172B075B}" srcOrd="0" destOrd="0" presId="urn:microsoft.com/office/officeart/2005/8/layout/hList1"/>
    <dgm:cxn modelId="{8980179F-DBA3-47A6-B1E5-AD21576EE746}" type="presOf" srcId="{C359EBEE-424D-49E9-A959-936E61D8D8E2}" destId="{4A5FDE44-94E4-49F9-A3F5-2A646634551D}" srcOrd="0" destOrd="1" presId="urn:microsoft.com/office/officeart/2005/8/layout/hList1"/>
    <dgm:cxn modelId="{40D8613B-25E2-4673-9CED-9FBD56035782}" type="presOf" srcId="{F9E4E5A7-4E4D-4FFE-84E6-00C832863C72}" destId="{F0F9BB9D-2F90-457C-8648-6E51E4C4FEE7}" srcOrd="0" destOrd="0" presId="urn:microsoft.com/office/officeart/2005/8/layout/hList1"/>
    <dgm:cxn modelId="{7A6DB604-3698-4EE8-8B18-2D7235B6FE58}" srcId="{37BD0A7F-9A88-4A6C-9651-4A64501D2B59}" destId="{BB77D1CB-2991-4919-BDE7-472DA95CC052}" srcOrd="0" destOrd="0" parTransId="{201870FC-D404-4BE3-8639-2A6469CB9670}" sibTransId="{7100ACD8-5886-42B2-9BA4-EFDA4C71E573}"/>
    <dgm:cxn modelId="{E7F324DE-8D06-45C9-A582-CC9F476B53FE}" srcId="{F9E4E5A7-4E4D-4FFE-84E6-00C832863C72}" destId="{7BBFDD25-AB51-413B-BD11-05A0C2D127E4}" srcOrd="1" destOrd="0" parTransId="{1990C7D9-C211-457F-9704-24F43455650A}" sibTransId="{70BEF7D4-7979-46A8-9945-C29367A6712A}"/>
    <dgm:cxn modelId="{9C137BDC-7920-44CA-A82B-4E69DF2EBA16}" srcId="{37BD0A7F-9A88-4A6C-9651-4A64501D2B59}" destId="{C4EC96ED-8541-4F15-8697-64957EE025EF}" srcOrd="2" destOrd="0" parTransId="{67304C25-30E8-45AA-93F5-016FFF8D6297}" sibTransId="{CDEF345E-1EF1-41A2-A6C7-AB04221638D8}"/>
    <dgm:cxn modelId="{82EA59CC-F961-4F37-9BE3-51841F624882}" type="presOf" srcId="{BB77D1CB-2991-4919-BDE7-472DA95CC052}" destId="{4A5FDE44-94E4-49F9-A3F5-2A646634551D}" srcOrd="0" destOrd="0" presId="urn:microsoft.com/office/officeart/2005/8/layout/hList1"/>
    <dgm:cxn modelId="{2FF5B397-17DD-486F-81C6-4E01F61403D1}" type="presOf" srcId="{DAEDE066-88A9-4B91-803C-185AC1DC6F85}" destId="{CDF5A6D9-6202-453D-A8F5-A7F5E2C53E05}" srcOrd="0" destOrd="2" presId="urn:microsoft.com/office/officeart/2005/8/layout/hList1"/>
    <dgm:cxn modelId="{8CC67ECE-8B36-491D-B699-49EA7EB0A32F}" srcId="{98245B6F-8500-4573-82BB-D1EADF4136C6}" destId="{9D708545-C451-438E-9D5F-F857DE6B3375}" srcOrd="0" destOrd="0" parTransId="{29647491-56F0-43D4-BBC5-158EB775E1B4}" sibTransId="{96302C5E-2BAF-4CF0-9468-7CF53A234451}"/>
    <dgm:cxn modelId="{C8C87B1C-EF85-4B36-B290-DEAECC934160}" type="presOf" srcId="{C9E48598-F5F1-49E4-B742-E96FEB09B262}" destId="{CDF5A6D9-6202-453D-A8F5-A7F5E2C53E05}" srcOrd="0" destOrd="1" presId="urn:microsoft.com/office/officeart/2005/8/layout/hList1"/>
    <dgm:cxn modelId="{AE103C02-DD67-4B5D-BE1C-215A66B4D61F}" type="presOf" srcId="{7BBFDD25-AB51-413B-BD11-05A0C2D127E4}" destId="{5509FE88-9531-42F1-9667-C80303E1880B}" srcOrd="0" destOrd="1" presId="urn:microsoft.com/office/officeart/2005/8/layout/hList1"/>
    <dgm:cxn modelId="{A33091AB-841E-4C5D-A147-F948B45E87A4}" srcId="{4BBFF0BA-FA7D-4262-B6B2-C21680CE0EF3}" destId="{D6B319AC-ECE1-480B-9859-8F50390F573C}" srcOrd="1" destOrd="0" parTransId="{9E738843-4040-4326-9FB4-28830072096D}" sibTransId="{65B839AF-B2AD-4EF0-8034-5B576171615B}"/>
    <dgm:cxn modelId="{6C96AA3F-5A49-4AAA-AB9D-87040B4FE5CD}" srcId="{DADD1E7C-AB4F-40F5-B28F-33E92FB44C79}" destId="{37BD0A7F-9A88-4A6C-9651-4A64501D2B59}" srcOrd="0" destOrd="0" parTransId="{EEDF589B-9AEC-48DB-A188-F46E2E88D46A}" sibTransId="{0EC81899-20B9-4DC5-94BB-34F3812BDF55}"/>
    <dgm:cxn modelId="{AEA4A8EE-B7FE-4449-8DEC-171A4F315E1F}" type="presOf" srcId="{37BD0A7F-9A88-4A6C-9651-4A64501D2B59}" destId="{C70EB050-E996-4F38-BF22-0443B943C14D}" srcOrd="0" destOrd="0" presId="urn:microsoft.com/office/officeart/2005/8/layout/hList1"/>
    <dgm:cxn modelId="{8BA71278-10CB-4E24-80A6-EA74EB2F3481}" type="presOf" srcId="{D6B319AC-ECE1-480B-9859-8F50390F573C}" destId="{CF15583F-5EB1-43DD-B205-5217702ED3BD}" srcOrd="0" destOrd="1" presId="urn:microsoft.com/office/officeart/2005/8/layout/hList1"/>
    <dgm:cxn modelId="{CDDF1936-86EA-4B4E-A717-F80CD5E9E235}" srcId="{37BD0A7F-9A88-4A6C-9651-4A64501D2B59}" destId="{C359EBEE-424D-49E9-A959-936E61D8D8E2}" srcOrd="1" destOrd="0" parTransId="{D7882BCE-2256-4F4C-89A6-8CD405713954}" sibTransId="{0DCBD472-74A3-4502-A7D1-12975074738F}"/>
    <dgm:cxn modelId="{F50809AA-2FE2-45D2-A458-78BB0E357CF0}" srcId="{F9E4E5A7-4E4D-4FFE-84E6-00C832863C72}" destId="{754A5B29-D53E-4BC5-9F71-8B11CFA0E7E7}" srcOrd="0" destOrd="0" parTransId="{476E0CED-D96C-4E0B-8214-52791DDC3449}" sibTransId="{82E37B24-922F-4E7C-B6B2-B49AFF010AD8}"/>
    <dgm:cxn modelId="{0E1AF209-1D19-4E2F-91C5-175EA89E328D}" srcId="{DADD1E7C-AB4F-40F5-B28F-33E92FB44C79}" destId="{4BBFF0BA-FA7D-4262-B6B2-C21680CE0EF3}" srcOrd="1" destOrd="0" parTransId="{97F2D38A-83EB-4211-A02E-B577A84D0E2A}" sibTransId="{D8210D40-10FF-46B4-9839-7D62AE07EE32}"/>
    <dgm:cxn modelId="{DDFE80E1-E3B0-46BC-984F-951D95841055}" srcId="{4BBFF0BA-FA7D-4262-B6B2-C21680CE0EF3}" destId="{7122FD0E-25A8-43C7-A70E-5F26FA4DEE60}" srcOrd="0" destOrd="0" parTransId="{A52B4C88-59D2-4A0C-890C-FED8ED0936AE}" sibTransId="{F472C6AE-8DB4-4770-8533-5846DC07B1C7}"/>
    <dgm:cxn modelId="{F8D6CC17-B5DD-4C3A-9B0A-BE7613CAAE3E}" type="presOf" srcId="{7122FD0E-25A8-43C7-A70E-5F26FA4DEE60}" destId="{CF15583F-5EB1-43DD-B205-5217702ED3BD}" srcOrd="0" destOrd="0" presId="urn:microsoft.com/office/officeart/2005/8/layout/hList1"/>
    <dgm:cxn modelId="{DB0D1437-E8CA-405A-9877-144700277221}" srcId="{98245B6F-8500-4573-82BB-D1EADF4136C6}" destId="{DAEDE066-88A9-4B91-803C-185AC1DC6F85}" srcOrd="2" destOrd="0" parTransId="{CF4BB9BD-9CC6-4531-B532-67386EBF9EF6}" sibTransId="{78B57CC0-92BC-4571-962A-99C53A707403}"/>
    <dgm:cxn modelId="{892783F9-8980-4612-A502-22A7DA173E5D}" srcId="{98245B6F-8500-4573-82BB-D1EADF4136C6}" destId="{C9E48598-F5F1-49E4-B742-E96FEB09B262}" srcOrd="1" destOrd="0" parTransId="{E060CB42-32B6-4CB3-BF63-3A2EFCE926DC}" sibTransId="{2ED5C589-0A61-4281-B5A4-E766C0D526F5}"/>
    <dgm:cxn modelId="{B6A5EC3A-35E9-464B-A937-99850725B223}" type="presOf" srcId="{98245B6F-8500-4573-82BB-D1EADF4136C6}" destId="{BD0C3421-A5FB-40B7-8CED-67167AAAA149}" srcOrd="0" destOrd="0" presId="urn:microsoft.com/office/officeart/2005/8/layout/hList1"/>
    <dgm:cxn modelId="{8941B143-256E-4BED-B11D-2EA0EA0B8719}" type="presOf" srcId="{4BBFF0BA-FA7D-4262-B6B2-C21680CE0EF3}" destId="{E9C23157-C44C-4EB7-9D5B-CB32625C709B}" srcOrd="0" destOrd="0" presId="urn:microsoft.com/office/officeart/2005/8/layout/hList1"/>
    <dgm:cxn modelId="{BC165B2D-5107-490E-85EF-09431825AE71}" type="presOf" srcId="{754A5B29-D53E-4BC5-9F71-8B11CFA0E7E7}" destId="{5509FE88-9531-42F1-9667-C80303E1880B}" srcOrd="0" destOrd="0" presId="urn:microsoft.com/office/officeart/2005/8/layout/hList1"/>
    <dgm:cxn modelId="{38937A8F-648E-4306-87F0-653CFE69E21B}" srcId="{DADD1E7C-AB4F-40F5-B28F-33E92FB44C79}" destId="{F9E4E5A7-4E4D-4FFE-84E6-00C832863C72}" srcOrd="2" destOrd="0" parTransId="{B94D3F72-C05A-4BB2-B0F4-DC428861B83B}" sibTransId="{D7DF93DF-428B-4930-9E6A-527347FE52C2}"/>
    <dgm:cxn modelId="{735F5B9F-DF33-4D8F-AC09-6AA1E9866970}" srcId="{DADD1E7C-AB4F-40F5-B28F-33E92FB44C79}" destId="{98245B6F-8500-4573-82BB-D1EADF4136C6}" srcOrd="3" destOrd="0" parTransId="{DBAFDA64-6CEE-4F6D-AD49-C7CDEB163164}" sibTransId="{C92DAAF0-582E-4727-A5A5-7A7EF8C7D075}"/>
    <dgm:cxn modelId="{96B51FEA-E584-4860-B007-BAF04E4B0BF8}" type="presOf" srcId="{C4EC96ED-8541-4F15-8697-64957EE025EF}" destId="{4A5FDE44-94E4-49F9-A3F5-2A646634551D}" srcOrd="0" destOrd="2" presId="urn:microsoft.com/office/officeart/2005/8/layout/hList1"/>
    <dgm:cxn modelId="{091B723D-2714-4539-B6B2-362076BA7690}" type="presOf" srcId="{9D708545-C451-438E-9D5F-F857DE6B3375}" destId="{CDF5A6D9-6202-453D-A8F5-A7F5E2C53E05}" srcOrd="0" destOrd="0" presId="urn:microsoft.com/office/officeart/2005/8/layout/hList1"/>
    <dgm:cxn modelId="{61D43FCE-F5E7-4F8A-9A92-DBD7DCC134CE}" type="presParOf" srcId="{C5C709C1-43BA-4B2F-8FA8-1474172B075B}" destId="{4CB31884-50A1-4854-9B48-D304431F7784}" srcOrd="0" destOrd="0" presId="urn:microsoft.com/office/officeart/2005/8/layout/hList1"/>
    <dgm:cxn modelId="{6D504D9C-4DCE-4DA3-AD59-3F9CC64B9515}" type="presParOf" srcId="{4CB31884-50A1-4854-9B48-D304431F7784}" destId="{C70EB050-E996-4F38-BF22-0443B943C14D}" srcOrd="0" destOrd="0" presId="urn:microsoft.com/office/officeart/2005/8/layout/hList1"/>
    <dgm:cxn modelId="{FE83E347-D902-4264-8F35-289A08F9A978}" type="presParOf" srcId="{4CB31884-50A1-4854-9B48-D304431F7784}" destId="{4A5FDE44-94E4-49F9-A3F5-2A646634551D}" srcOrd="1" destOrd="0" presId="urn:microsoft.com/office/officeart/2005/8/layout/hList1"/>
    <dgm:cxn modelId="{B4FAAB75-2059-4BE1-9126-354477CFE986}" type="presParOf" srcId="{C5C709C1-43BA-4B2F-8FA8-1474172B075B}" destId="{9787899C-52F8-4858-9CBE-0EC2E6DB6969}" srcOrd="1" destOrd="0" presId="urn:microsoft.com/office/officeart/2005/8/layout/hList1"/>
    <dgm:cxn modelId="{28BBCF66-CE53-4634-810F-51EBEAD622CF}" type="presParOf" srcId="{C5C709C1-43BA-4B2F-8FA8-1474172B075B}" destId="{45F9C884-F7EE-474D-B00E-A30CEF496AD2}" srcOrd="2" destOrd="0" presId="urn:microsoft.com/office/officeart/2005/8/layout/hList1"/>
    <dgm:cxn modelId="{7338ED7A-463A-4C3A-956B-CA16B1B6E610}" type="presParOf" srcId="{45F9C884-F7EE-474D-B00E-A30CEF496AD2}" destId="{E9C23157-C44C-4EB7-9D5B-CB32625C709B}" srcOrd="0" destOrd="0" presId="urn:microsoft.com/office/officeart/2005/8/layout/hList1"/>
    <dgm:cxn modelId="{CF75E090-39AC-4534-AB92-A5A155ECDCA7}" type="presParOf" srcId="{45F9C884-F7EE-474D-B00E-A30CEF496AD2}" destId="{CF15583F-5EB1-43DD-B205-5217702ED3BD}" srcOrd="1" destOrd="0" presId="urn:microsoft.com/office/officeart/2005/8/layout/hList1"/>
    <dgm:cxn modelId="{54E1E474-E67F-499E-9E31-25AB085B7FFB}" type="presParOf" srcId="{C5C709C1-43BA-4B2F-8FA8-1474172B075B}" destId="{2E6CBAC4-2A1E-4E8E-ABD0-31F4235AABC8}" srcOrd="3" destOrd="0" presId="urn:microsoft.com/office/officeart/2005/8/layout/hList1"/>
    <dgm:cxn modelId="{45B15587-863F-4BDB-9A70-DC06D428DD06}" type="presParOf" srcId="{C5C709C1-43BA-4B2F-8FA8-1474172B075B}" destId="{C63A41A1-3B22-4E6F-9CAC-14E082730B7A}" srcOrd="4" destOrd="0" presId="urn:microsoft.com/office/officeart/2005/8/layout/hList1"/>
    <dgm:cxn modelId="{CAA289EA-A166-48DC-A011-C2075FD9559F}" type="presParOf" srcId="{C63A41A1-3B22-4E6F-9CAC-14E082730B7A}" destId="{F0F9BB9D-2F90-457C-8648-6E51E4C4FEE7}" srcOrd="0" destOrd="0" presId="urn:microsoft.com/office/officeart/2005/8/layout/hList1"/>
    <dgm:cxn modelId="{CDA9F32A-8EF4-4102-9121-9801ED5EF377}" type="presParOf" srcId="{C63A41A1-3B22-4E6F-9CAC-14E082730B7A}" destId="{5509FE88-9531-42F1-9667-C80303E1880B}" srcOrd="1" destOrd="0" presId="urn:microsoft.com/office/officeart/2005/8/layout/hList1"/>
    <dgm:cxn modelId="{E74D0B41-9C45-457F-A0D4-101075D01FB8}" type="presParOf" srcId="{C5C709C1-43BA-4B2F-8FA8-1474172B075B}" destId="{DF6C21E9-841C-416C-B8C0-381A8427EE10}" srcOrd="5" destOrd="0" presId="urn:microsoft.com/office/officeart/2005/8/layout/hList1"/>
    <dgm:cxn modelId="{A581F51F-5772-4F2B-A937-8AE471DC89B9}" type="presParOf" srcId="{C5C709C1-43BA-4B2F-8FA8-1474172B075B}" destId="{9EDDDC49-0AEE-498B-B106-B7D1A22C86A5}" srcOrd="6" destOrd="0" presId="urn:microsoft.com/office/officeart/2005/8/layout/hList1"/>
    <dgm:cxn modelId="{02E541E3-3D4B-4162-8030-80B1622047AC}" type="presParOf" srcId="{9EDDDC49-0AEE-498B-B106-B7D1A22C86A5}" destId="{BD0C3421-A5FB-40B7-8CED-67167AAAA149}" srcOrd="0" destOrd="0" presId="urn:microsoft.com/office/officeart/2005/8/layout/hList1"/>
    <dgm:cxn modelId="{5611B278-B818-4A3B-8442-75DE2F47587D}" type="presParOf" srcId="{9EDDDC49-0AEE-498B-B106-B7D1A22C86A5}" destId="{CDF5A6D9-6202-453D-A8F5-A7F5E2C53E0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0EB050-E996-4F38-BF22-0443B943C14D}">
      <dsp:nvSpPr>
        <dsp:cNvPr id="0" name=""/>
        <dsp:cNvSpPr/>
      </dsp:nvSpPr>
      <dsp:spPr>
        <a:xfrm>
          <a:off x="737" y="625724"/>
          <a:ext cx="2146345" cy="489600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>
              <a:solidFill>
                <a:srgbClr val="FC6E51"/>
              </a:solidFill>
            </a:rPr>
            <a:t>Кого оцениваем?</a:t>
          </a:r>
        </a:p>
      </dsp:txBody>
      <dsp:txXfrm>
        <a:off x="737" y="625724"/>
        <a:ext cx="2146345" cy="489600"/>
      </dsp:txXfrm>
    </dsp:sp>
    <dsp:sp modelId="{4A5FDE44-94E4-49F9-A3F5-2A646634551D}">
      <dsp:nvSpPr>
        <dsp:cNvPr id="0" name=""/>
        <dsp:cNvSpPr/>
      </dsp:nvSpPr>
      <dsp:spPr>
        <a:xfrm>
          <a:off x="132803" y="1115324"/>
          <a:ext cx="1882214" cy="1283287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Покупатели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Поставщики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Банки</a:t>
          </a:r>
        </a:p>
      </dsp:txBody>
      <dsp:txXfrm>
        <a:off x="132803" y="1115324"/>
        <a:ext cx="1882214" cy="1283287"/>
      </dsp:txXfrm>
    </dsp:sp>
    <dsp:sp modelId="{E9C23157-C44C-4EB7-9D5B-CB32625C709B}">
      <dsp:nvSpPr>
        <dsp:cNvPr id="0" name=""/>
        <dsp:cNvSpPr/>
      </dsp:nvSpPr>
      <dsp:spPr>
        <a:xfrm>
          <a:off x="2410593" y="625724"/>
          <a:ext cx="2230649" cy="489600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>
              <a:solidFill>
                <a:srgbClr val="FC6E51"/>
              </a:solidFill>
            </a:rPr>
            <a:t>Что оцениваем?</a:t>
          </a:r>
        </a:p>
      </dsp:txBody>
      <dsp:txXfrm>
        <a:off x="2410593" y="625724"/>
        <a:ext cx="2230649" cy="489600"/>
      </dsp:txXfrm>
    </dsp:sp>
    <dsp:sp modelId="{CF15583F-5EB1-43DD-B205-5217702ED3BD}">
      <dsp:nvSpPr>
        <dsp:cNvPr id="0" name=""/>
        <dsp:cNvSpPr/>
      </dsp:nvSpPr>
      <dsp:spPr>
        <a:xfrm>
          <a:off x="2584810" y="1115324"/>
          <a:ext cx="1882214" cy="1283287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Риск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Доходность</a:t>
          </a:r>
        </a:p>
      </dsp:txBody>
      <dsp:txXfrm>
        <a:off x="2584810" y="1115324"/>
        <a:ext cx="1882214" cy="1283287"/>
      </dsp:txXfrm>
    </dsp:sp>
    <dsp:sp modelId="{F0F9BB9D-2F90-457C-8648-6E51E4C4FEE7}">
      <dsp:nvSpPr>
        <dsp:cNvPr id="0" name=""/>
        <dsp:cNvSpPr/>
      </dsp:nvSpPr>
      <dsp:spPr>
        <a:xfrm>
          <a:off x="4904752" y="625724"/>
          <a:ext cx="1882214" cy="489600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>
              <a:solidFill>
                <a:srgbClr val="FC6E51"/>
              </a:solidFill>
            </a:rPr>
            <a:t>Политика</a:t>
          </a:r>
        </a:p>
      </dsp:txBody>
      <dsp:txXfrm>
        <a:off x="4904752" y="625724"/>
        <a:ext cx="1882214" cy="489600"/>
      </dsp:txXfrm>
    </dsp:sp>
    <dsp:sp modelId="{5509FE88-9531-42F1-9667-C80303E1880B}">
      <dsp:nvSpPr>
        <dsp:cNvPr id="0" name=""/>
        <dsp:cNvSpPr/>
      </dsp:nvSpPr>
      <dsp:spPr>
        <a:xfrm>
          <a:off x="4904752" y="1115324"/>
          <a:ext cx="1882214" cy="1283287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Лимит задолженности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Условия сделок</a:t>
          </a:r>
        </a:p>
      </dsp:txBody>
      <dsp:txXfrm>
        <a:off x="4904752" y="1115324"/>
        <a:ext cx="1882214" cy="1283287"/>
      </dsp:txXfrm>
    </dsp:sp>
    <dsp:sp modelId="{BD0C3421-A5FB-40B7-8CED-67167AAAA149}">
      <dsp:nvSpPr>
        <dsp:cNvPr id="0" name=""/>
        <dsp:cNvSpPr/>
      </dsp:nvSpPr>
      <dsp:spPr>
        <a:xfrm>
          <a:off x="7050476" y="625724"/>
          <a:ext cx="1882214" cy="489600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>
              <a:solidFill>
                <a:srgbClr val="FC6E51"/>
              </a:solidFill>
            </a:rPr>
            <a:t>Контроль</a:t>
          </a:r>
        </a:p>
      </dsp:txBody>
      <dsp:txXfrm>
        <a:off x="7050476" y="625724"/>
        <a:ext cx="1882214" cy="489600"/>
      </dsp:txXfrm>
    </dsp:sp>
    <dsp:sp modelId="{CDF5A6D9-6202-453D-A8F5-A7F5E2C53E05}">
      <dsp:nvSpPr>
        <dsp:cNvPr id="0" name=""/>
        <dsp:cNvSpPr/>
      </dsp:nvSpPr>
      <dsp:spPr>
        <a:xfrm>
          <a:off x="7051214" y="1115324"/>
          <a:ext cx="1882214" cy="1283287"/>
        </a:xfrm>
        <a:prstGeom prst="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В договорах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В заявках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>
              <a:solidFill>
                <a:srgbClr val="808080"/>
              </a:solidFill>
            </a:rPr>
            <a:t>В платежном календаре</a:t>
          </a:r>
        </a:p>
      </dsp:txBody>
      <dsp:txXfrm>
        <a:off x="7051214" y="1115324"/>
        <a:ext cx="1882214" cy="12832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9E308-8DB5-4411-96BE-AC6258BF2E57}" type="datetimeFigureOut">
              <a:rPr lang="ru-RU" smtClean="0"/>
              <a:t>1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D7C57B-3508-489B-AD19-629E6F96660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6618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8C1857F1-5628-42BE-9DA5-FBB340E17B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649009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E2060A7-2D5E-4C89-828A-D99AEE515F23}" type="slidenum">
              <a:rPr lang="ru-RU" altLang="ru-RU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92237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кумент </a:t>
            </a:r>
            <a:r>
              <a:rPr lang="ru-RU" b="1" dirty="0" smtClean="0"/>
              <a:t>Покрытие потребности в финансировании</a:t>
            </a:r>
            <a:r>
              <a:rPr lang="ru-RU" dirty="0" smtClean="0"/>
              <a:t> содержит уточненные</a:t>
            </a:r>
            <a:r>
              <a:rPr lang="ru-RU" baseline="0" dirty="0" smtClean="0"/>
              <a:t> параметры будущей сделки. Он формируется одним из трех </a:t>
            </a:r>
            <a:r>
              <a:rPr lang="ru-RU" baseline="0" dirty="0" err="1" smtClean="0"/>
              <a:t>споосбов</a:t>
            </a:r>
            <a:r>
              <a:rPr lang="ru-RU" baseline="0" dirty="0" smtClean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Как результат проведения закупочной процедуры, по данным предложения победителя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Напрямую на основании ЗНПФ, если планируется привлечение очередного транша кредитной линии или линии займ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При планировании траншей казначейских кредитов из платежного календаря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baseline="0" dirty="0" smtClean="0"/>
              <a:t>В документе указываются все существенные параметры, необходимые для расчета уточненного графика расчетов. Сформированный график проходит бюджетный контроль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baseline="0" dirty="0" smtClean="0"/>
              <a:t>На основании документа </a:t>
            </a:r>
            <a:r>
              <a:rPr lang="ru-RU" b="1" dirty="0" smtClean="0"/>
              <a:t>Покрытие потребности в финансировании</a:t>
            </a:r>
            <a:r>
              <a:rPr lang="ru-RU" dirty="0" smtClean="0"/>
              <a:t>  вводится договор кредита или займ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78714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</a:t>
            </a:r>
            <a:r>
              <a:rPr lang="ru-RU" baseline="0" dirty="0" smtClean="0"/>
              <a:t> отражении операций по основному долгу кредита или займа может выполняться автоматический пересчет графика. В зависимости от настроек системы, может либо создаваться новый документ «Версия договора кредита, займа», либо обновляться график в актуальной версии.</a:t>
            </a:r>
          </a:p>
          <a:p>
            <a:r>
              <a:rPr lang="ru-RU" baseline="0" dirty="0" smtClean="0"/>
              <a:t>Эта функциональность позволяет упростить отражение досрочных возвратов кредитов или займов, без необходимости вручную править график расчет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164648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55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43AA9AD-9C2E-41D4-B8F7-E07C88162F7B}" type="slidenum">
              <a:rPr lang="ru-RU" altLang="ru-RU" sz="1200" smtClean="0">
                <a:latin typeface="Times New Roman" pitchFamily="18" charset="0"/>
              </a:rPr>
              <a:pPr/>
              <a:t>26</a:t>
            </a:fld>
            <a:endParaRPr lang="ru-RU" altLang="ru-RU" sz="120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1039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06450" y="355600"/>
            <a:ext cx="2447925" cy="1376363"/>
          </a:xfrm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xfrm>
            <a:off x="2784" y="2010991"/>
            <a:ext cx="6797675" cy="7272808"/>
          </a:xfrm>
          <a:ln w="9525"/>
        </p:spPr>
        <p:txBody>
          <a:bodyPr/>
          <a:lstStyle/>
          <a:p>
            <a:pPr>
              <a:defRPr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цесс по управлению обязательствами в системе можно условно разделить на четыре взаимосвязанных функциональных блока, каждый из которых содержит набор инструментов помогающих пользователям принимать правильные своевременные решения и обеспечить исполнение обязательства  в процессе исполнения, а также минимизировать затраты в сложных ситуациях. 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дин самых важных функциональных блоков – это разработка коммерческой политики по управлению обязательствами. Он содержит инструменты, которые помогают описать типовые условия по работе с контрагентами в зависимости от классификации контрагентов. Классифицировать контрагентов по степени доходности и уровням риска. То есть описать ключевые параметры каждого вида обязательств, которые будут использованы при подготовке и заключению контрактов. 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торой функциональный блок </a:t>
            </a:r>
            <a:r>
              <a:rPr lang="ru-RU" alt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онтрактаци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. Именно в момент контрактации наш базовый набор коммерческой политики становится индивидуальным, уточняется и расширяется. Мы описываем требования к нашим поставщикам, условиям поставки, характеристикам, прописываем гарантийные обязательства, страхуемся от возможных рисков.  Заключение контракта – это последний рубеж, соблюсти свои интересы. Далее имеем то, что имеем.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ожно заложить отличные условия контракта, но среди тысячи контрактов и текущей загруженности пропустить момент нарушения обязательств. Причем преимущественно это происходит не специально. Происходит как с нашей стороны, так и со стороны наших партнеров. Забыли, не успели, не так оформили документы, не учли сроки доставки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итд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. Блок по управлению предупреждений представлен автоматизированным рабочим местом помогающим своевременно обнаружить отклонения, оповестить ответственного о приближающемся действии, которое нужно совершить, проконтролировать правильность и сроки. 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 последний функциональный блок помогает отработать произошедшее нарушение. Остановить платежи, инициировать претензионно-исковую работу, спрогнозировать изменения в бюджетах. </a:t>
            </a:r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F4BC73-4D72-457A-B106-AFE5CF217573}" type="slidenum"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8839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55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2B0CC4-9C26-4657-9F64-384A7B900CBA}" type="slidenum">
              <a:rPr kumimoji="0" lang="ru-RU" altLang="ru-RU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556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altLang="ru-RU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2097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xfrm>
            <a:off x="374501" y="4714875"/>
            <a:ext cx="5976664" cy="4468813"/>
          </a:xfrm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r>
              <a:rPr lang="ru-RU" altLang="ru-RU" sz="1600" dirty="0"/>
              <a:t>Претензия может быт финансовой или не финансовой. Претензию могут формировать разные процессы системы: нарушение при проведении торгов,  некачественная поставка, взыскание просроченной задолженности. </a:t>
            </a:r>
          </a:p>
          <a:p>
            <a:pPr marL="0" indent="0">
              <a:buFontTx/>
              <a:buNone/>
              <a:defRPr/>
            </a:pPr>
            <a:r>
              <a:rPr lang="ru-RU" altLang="ru-RU" sz="1600" dirty="0"/>
              <a:t>Документ фиксирует позиции сторон и сохраняется вся история взаимоотношений. Система позволяет планировать претензионную работу по этапам от инициации до закрытия. Каждое изменение в данном документе сохраняется в виде версии в которой ответственный оценивает ситуацию и дает экономическим службам прогноз движения денежных средств. Например прогноз по срокам и сумме возврата задолженности.  Сумма задолженности рассчитывается как сумма задолженности с учетом пеней и штрафов на день просрочки.</a:t>
            </a:r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34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3730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FD5A137A-F601-4073-860F-09C24864FA23}" type="slidenum">
              <a:rPr lang="ru-RU" altLang="ru-RU" sz="1300" smtClean="0">
                <a:latin typeface="Arial" charset="0"/>
              </a:rPr>
              <a:pPr>
                <a:spcBef>
                  <a:spcPct val="0"/>
                </a:spcBef>
              </a:pPr>
              <a:t>35</a:t>
            </a:fld>
            <a:endParaRPr lang="ru-RU" altLang="ru-RU" sz="1300">
              <a:latin typeface="Arial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5037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ы цессии используются для уступки прав требования дебиторской задолженности, т. е. продажи долга третьих лиц. Сторона, уступающая свое право, называется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дент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приобретающая –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онарие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ля отражения таких сделок в системе предусмотрены следующие виды договоров:</a:t>
            </a:r>
          </a:p>
          <a:p>
            <a:pPr lvl="0"/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я исходящая</a:t>
            </a:r>
            <a:r>
              <a:rPr lang="x-none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– сторона цедента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marL="0" lvl="0" indent="0">
              <a:buFont typeface="Arial" panose="020B0604020202020204" pitchFamily="34" charset="0"/>
              <a:buNone/>
            </a:pP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я входящая</a:t>
            </a:r>
            <a:r>
              <a:rPr lang="x-none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– сторона цессионария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лжни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чья задолженность уступается, договор не заключается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В системе предусмотрены документы, отражающие уступку задолженности, для каждой из трех сторон. Доступ к ним осуществляется через журнал документов </a:t>
            </a: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в разделе </a:t>
            </a: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Казначейств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Каждый документ поддерживает работу с двумя видами обязательств:</a:t>
            </a:r>
          </a:p>
          <a:p>
            <a:pPr lvl="0"/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Задолженность по договору купли-продажи</a:t>
            </a:r>
            <a:r>
              <a:rPr lang="x-none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– отражается уступка права требования задолженности за товары, работы или услуги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Задолженность по договору займа</a:t>
            </a:r>
            <a:r>
              <a:rPr lang="x-none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– отражается уступка права требования задолженности заемщика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3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44892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кумент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я исходящая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лужит для отражения продажи задолженности цедентом. По договору, указанному в пол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 цесси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начисляется дебиторская задолженность цессионария в размере суммы сделки. По договору, указанному в пол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 с должни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дебиторская задолженность списывается. Сумма сделки может отличаться от суммы уступаемой задолженности, т. е. уступка осуществляется с премией или с дисконтом. При уступке задолженности по договору купли-продажи, если сумма сделки превышает сумму задолженности, возникает необходимость уплаты НДС с суммы превышения. Ставка НДС указывается в одноименном пол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3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919353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кумент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я входящая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лужит для отражения приобретения права требования задолженности цессионарием. По договору, указанному в пол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 цесси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начисляется кредиторская задолженность перед цедентом в объеме суммы сделки. По договору, указанному в пол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 с должник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начисляется дебиторская задолженность должника. При этом, если соответствующий договор не был создан заранее, его можно создать непосредственно из формы документа командой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оздать догово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ри приобретении задолженности по договору купли-продажи, если сумма сделки превышает сумму задолженности, возникает начисление НДС с суммы превышения. Ставка НДС указывается в одноименном поле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3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5005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5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7490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кумент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Цессия должника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лужит для отражения смены кредитора по текущему обязательству. Дебиторская задолженность по договору, указанному в пол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 с цедент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, списывается, и при этом на ту же сумму возникает дебиторская задолженность по договору, указанному в пол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оговор с цессионарие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 Если договор с цессионарием не был создан заранее, его можно создать непосредственно из формы документа командой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оздать догово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3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852559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Если две или три</a:t>
            </a:r>
            <a:r>
              <a:rPr lang="ru-RU" baseline="0" dirty="0" smtClean="0"/>
              <a:t> стороны цессии – организации группы, в системе предусмотрена возможность создания встречных документов на основании уже существующих. Последовательность заполнения документов представлена на слайде. Предусмотрена возможность автоматического создания внутригрупповых документов.</a:t>
            </a:r>
          </a:p>
          <a:p>
            <a:r>
              <a:rPr lang="ru-RU" baseline="0" dirty="0" smtClean="0"/>
              <a:t>Команды отражения сделки в учете создают документы регламентированного учета. Количество и состав документов разнятся в зависимости от типа документа и выбранного вида обязательств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4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874889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44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2731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6B7529B-DD84-4433-8CBB-D09637B00005}" type="slidenum">
              <a:rPr lang="ru-RU" altLang="ru-RU" sz="1300" smtClean="0"/>
              <a:pPr/>
              <a:t>46</a:t>
            </a:fld>
            <a:endParaRPr lang="ru-RU" altLang="ru-RU" sz="1300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7186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817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1292629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редакции УХ 3.2 реализованы</a:t>
            </a:r>
            <a:r>
              <a:rPr lang="ru-RU" baseline="0" dirty="0" smtClean="0"/>
              <a:t> следующие дополнительные способы создания заявок на оплату: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Из механизмов учетного ядра БП КОРП 3.0: Помощник учета зарплаты, Помощник уплаты налогов. Раньше из этих инструментов создавались только платежные поручения, что нарушает концепцию фабрики платежей.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Из 1С:ЗУП КОРП. Раньше ведомости на выплату зарплаты могли загружаться только как ведомости. Начиная с редакции 3.2, ведомости можно загружать как заявки на оплату. Это упрощает построение модульных ландшафтов, где 1С:УХ используется только как казначейская система и содержит минимум учетных данных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4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643211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ля целей согласования платежа зачастую бывает важно не только приложить к заявке на оплату некий файл, но и описать его суть. В ряде случаев вместо файла достаточно указать ссылку на документ в системе. Также для заявок различных видов перечень необходимых подтверждающих документов может отличаться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правочник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Виды подтверждающих документов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одержит описание видов подтверждающих документов. Флажок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рисоединенный файл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означает, что при указании подтверждающего документа следует приложить файл (например, скан-копию). Флажок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Объект системы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означает, что следует указать ссылку на справочник или документ указанного вида. Как минимум один из этих флажков должен быть обязательно установлен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еречень подтверждающих документов и требование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обязательности указания документа определенного вид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задаются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для каждого вида операци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 В самой заявке на оплату подтверждающие документы отображаются на странице </a:t>
            </a:r>
            <a:r>
              <a:rPr lang="ru-RU" sz="1200" b="1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одтверждающие документы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ри проведении заявки на оплату производится контроль наличия обязательных подтверждающих документов, а также указания присоединенных файлов и объектов систем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5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066239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56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7837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349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634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565F12D-A81B-4D42-846A-34CDB9DA7B99}" type="slidenum">
              <a:rPr lang="ru-RU" altLang="ru-RU" sz="1200" smtClean="0">
                <a:latin typeface="Times New Roman" pitchFamily="18" charset="0"/>
              </a:rPr>
              <a:pPr/>
              <a:t>58</a:t>
            </a:fld>
            <a:endParaRPr lang="ru-RU" altLang="ru-RU" sz="120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3699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 время разнесения выписки, когда документы редактируются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перепроводятся</a:t>
            </a:r>
            <a:r>
              <a:rPr lang="ru-RU" baseline="0" dirty="0" smtClean="0"/>
              <a:t>, в некоторые моменты остатки в регистрах денежных средств не соответствуют действительности. Чтобы всегда опираться на корректные данные, в редакции 3.2 появилась возможность отдельно сохранять остатки по данным банковской выписки в регистр сведений «Оперативные остатки на счетах и в кассах». Платежный календарь может использовать в качестве входящих остатков либо оперативные остатки, либо данные учетных регистров системы.</a:t>
            </a:r>
          </a:p>
          <a:p>
            <a:r>
              <a:rPr lang="ru-RU" baseline="0" dirty="0" smtClean="0"/>
              <a:t>Также, сохраненные оперативные остатки можно использовать для сверки учетных регистр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5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8018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Функциональность,</a:t>
            </a:r>
            <a:r>
              <a:rPr lang="ru-RU" baseline="0" dirty="0" smtClean="0"/>
              <a:t> входящую в подсистему «Корпоративное казначейство», условно можно разделить на 6 блоков. Рассмотрим </a:t>
            </a:r>
            <a:r>
              <a:rPr lang="ru-RU" baseline="0" dirty="0" err="1" smtClean="0"/>
              <a:t>поблочно</a:t>
            </a:r>
            <a:r>
              <a:rPr lang="ru-RU" baseline="0" dirty="0" smtClean="0"/>
              <a:t>, какие изменения функциональности произошли в редакции 3.2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224720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авился новый источник данных платежного календаря – «Прогноз денежных потоков». Этот источник строится экстраполяцией фактических оборотов за указанное число прошедших</a:t>
            </a:r>
            <a:r>
              <a:rPr lang="ru-RU" baseline="0" dirty="0" smtClean="0"/>
              <a:t> периодов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Также, для повышения точности планирования поступлений 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истема периодически сопоставляет плановые и фактические поступления денежных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средст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и вычисляет средний временной лаг в днях, а также коэффициент исполнения плана в разрезе организаций, контрагентов, валют и договоров. Если включена соответствующая настройка, данные каждого планируемого поступления корректируются следующим образом: сумма операции умножается на коэффициент исполнения, а дата смещается на величину временного лаг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6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229526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редакции</a:t>
            </a:r>
            <a:r>
              <a:rPr lang="ru-RU" baseline="0" dirty="0" smtClean="0"/>
              <a:t> 3.2 платежный календарь поддерживает работу с наличными денежными средствами:</a:t>
            </a:r>
            <a:br>
              <a:rPr lang="ru-RU" baseline="0" dirty="0" smtClean="0"/>
            </a:br>
            <a:r>
              <a:rPr lang="ru-RU" baseline="0" dirty="0" smtClean="0"/>
              <a:t>- Вывод плановых остатков в кассах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Управление будущими платежами и поступлениями в наличной форме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Операции перевода средств между кассами, снятия со счета в кассу и зачисления из кассы на банковский счет.</a:t>
            </a:r>
          </a:p>
          <a:p>
            <a:pPr marL="171450" indent="-171450">
              <a:buFontTx/>
              <a:buChar char="-"/>
            </a:pPr>
            <a:endParaRPr lang="ru-RU" baseline="0" dirty="0" smtClean="0"/>
          </a:p>
          <a:p>
            <a:pPr marL="171450" indent="-171450">
              <a:buFontTx/>
              <a:buChar char="-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7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655982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ля помощи в принятии решений о том, на</a:t>
            </a:r>
            <a:r>
              <a:rPr lang="ru-RU" baseline="0" dirty="0" smtClean="0"/>
              <a:t> какие счета размещать платежи, добавлен вывод дополнительных сведений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реднедневной остаток на счете;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максимальная глубина овердрафта за всю историю;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редний срок овердрафта в днях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marL="171450" lvl="0" indent="-171450">
              <a:buFontTx/>
              <a:buChar char="-"/>
            </a:pP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ведения о договоре овердрафта или МНО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 (сумма, процентная ставка)</a:t>
            </a:r>
          </a:p>
          <a:p>
            <a:pPr marL="171450" lvl="0" indent="-171450">
              <a:buFontTx/>
              <a:buChar char="-"/>
            </a:pPr>
            <a:endParaRPr lang="ru-RU" sz="1200" kern="1200" baseline="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marL="0" lvl="0" indent="0">
              <a:buFontTx/>
              <a:buNone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анные выводятся при наведении курсора на банковский счет. Также предусмотрена возможность дублировать их в отдельных колонках платежного календаря.</a:t>
            </a:r>
          </a:p>
          <a:p>
            <a:pPr marL="0" lvl="0" indent="0">
              <a:buFontTx/>
              <a:buNone/>
            </a:pPr>
            <a:endParaRPr lang="ru-RU" sz="1200" kern="1200" baseline="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marL="0" lvl="0" indent="0">
              <a:buFontTx/>
              <a:buNone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Когда обороты на счетах и в кассах скрыты, красными и зелеными точками отмечаются ячейки календаря, в которых есть плановые операции списания и зачисления средств соответственно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7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284359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явилась возможность детализировать</a:t>
            </a:r>
            <a:r>
              <a:rPr lang="ru-RU" baseline="0" dirty="0" smtClean="0"/>
              <a:t> обороты на банковских счетах по статьям ДДС. Этот режим позволяет использовать платежный календарь как аналитический инструмент, а также облегчает моделирование остановки либо выполнения платежей по определенным статья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7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9500157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171450" indent="-171450">
              <a:buFontTx/>
              <a:buChar char="-"/>
            </a:pPr>
            <a:endParaRPr lang="ru-RU" altLang="ru-RU" dirty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5BF64C29-BC43-4BBC-B586-5815A0D6A4B1}" type="slidenum">
              <a:rPr lang="ru-RU" altLang="ru-RU" sz="1200" smtClean="0">
                <a:latin typeface="Times New Roman" pitchFamily="18" charset="0"/>
              </a:rPr>
              <a:pPr/>
              <a:t>84</a:t>
            </a:fld>
            <a:endParaRPr lang="ru-RU" altLang="ru-RU" sz="120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3258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89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0848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ru-RU" dirty="0" smtClean="0"/>
              <a:t>В целях</a:t>
            </a:r>
            <a:r>
              <a:rPr lang="ru-RU" baseline="0" dirty="0" smtClean="0"/>
              <a:t> сокращения человеческого фактора, добавлены опциональные возможности создавать реестры платежей по расписанию (в реестр попадают все размещенные платежные позиции по утвержденным документам планирования) и автоматически создавать платежные поручения, когда реестр утвержден.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Добавлена возможность быстро отменить платеж вне зависимости от того, включен ли он в утвержденный реестр платежей и создано ли по нему платежное поручени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9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3235429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В целях экономии на расчетно-кассовом обслуживании при большом числе однотипных операций может потребоваться объединять их в одно платежное поручение. Эта возможность включается в настройках системы флажком </a:t>
            </a:r>
            <a:r>
              <a:rPr lang="ru-RU" sz="1200" u="none" strike="noStrike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Объединять однотипные позиции в одно платежное поручени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. Автоматически объединяются в один документ платежные позиции, у которых совпадают: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ата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вид операции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валюта платежа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организация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контрагент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банковский счет организации,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- </a:t>
            </a:r>
            <a:r>
              <a:rPr lang="x-none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банковский счет контрагента.</a:t>
            </a:r>
            <a:endParaRPr lang="ru-RU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Объединяться могут только позиции с видами операции, разрешающими использование расшифровки платеж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9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5060318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92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7784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93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714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DFB0DF9-E153-4A10-B9C8-070D95F211BD}" type="slidenum">
              <a:rPr lang="ru-RU" altLang="ru-RU" sz="1300" smtClean="0"/>
              <a:pPr/>
              <a:t>10</a:t>
            </a:fld>
            <a:endParaRPr lang="ru-RU" altLang="ru-RU" sz="13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01426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6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2665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aseline="0" dirty="0"/>
              <a:t>И здесь мы плавно переходим к важному компоненту новых проектов. Налоговый орган п</a:t>
            </a:r>
            <a:r>
              <a:rPr lang="ru-RU" altLang="ru-RU" dirty="0"/>
              <a:t>ри</a:t>
            </a:r>
            <a:r>
              <a:rPr lang="ru-RU" altLang="ru-RU" baseline="0" dirty="0"/>
              <a:t> в</a:t>
            </a:r>
            <a:r>
              <a:rPr lang="ru-RU" altLang="ru-RU" dirty="0"/>
              <a:t>заимодействии</a:t>
            </a:r>
            <a:r>
              <a:rPr lang="ru-RU" altLang="ru-RU" baseline="0" dirty="0"/>
              <a:t> с налогоплательщиком основывается на риск-ориентированном подходе, поэтому тщательная автоматизация управления рисками- неотъемлемая часть налогового мониторинга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aseline="0" dirty="0"/>
              <a:t>Этот функционал разрабатывается в сотрудничестве с </a:t>
            </a:r>
            <a:r>
              <a:rPr lang="en-US" altLang="ru-RU" baseline="0" dirty="0"/>
              <a:t>PwC.</a:t>
            </a:r>
            <a:endParaRPr lang="ru-RU" alt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/>
              <a:t>Помимо</a:t>
            </a:r>
            <a:r>
              <a:rPr lang="ru-RU" altLang="ru-RU" baseline="0" dirty="0"/>
              <a:t> функций по паспортизации рисков реализованы средства для планирования и регистрации контрольных процедур.</a:t>
            </a:r>
            <a:endParaRPr lang="ru-RU" alt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/>
              <a:t>Регистрация рисковых событий (инцидентов) позволяет</a:t>
            </a:r>
            <a:r>
              <a:rPr lang="ru-RU" altLang="ru-RU" baseline="0" dirty="0"/>
              <a:t> не только «посмертно» фиксировать сработавший риск, но (что важнее) в последующем адекватно оценивать их вероятность и возможный убыток на основе имеющейся статистики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/>
              <a:t>Для уменьшения негативных</a:t>
            </a:r>
            <a:r>
              <a:rPr lang="ru-RU" altLang="ru-RU" baseline="0" dirty="0"/>
              <a:t> </a:t>
            </a:r>
            <a:r>
              <a:rPr lang="ru-RU" altLang="ru-RU" dirty="0"/>
              <a:t>последствий рисковых событий</a:t>
            </a:r>
            <a:r>
              <a:rPr lang="ru-RU" altLang="ru-RU" baseline="0" dirty="0"/>
              <a:t> могут быть спланированы, а при реализации риска проведены мероприятия по реакции на них.</a:t>
            </a:r>
            <a:endParaRPr lang="en-US" altLang="ru-RU" baseline="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aseline="0" dirty="0"/>
              <a:t>Цикл управления рисками завершают налоговые уведомления для оценки налоговым органом уровня зрелости системы внутреннего контроля налогоплательщика и аналитические инструменты для всестороннего анализа клиентом различных аспектов риск-менеджмента.</a:t>
            </a:r>
          </a:p>
        </p:txBody>
      </p:sp>
      <p:sp>
        <p:nvSpPr>
          <p:cNvPr id="32666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788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788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788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788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788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27AB1424-1035-431A-A7B9-DFBD387DD22A}" type="slidenum">
              <a:rPr lang="en-US" altLang="ru-RU">
                <a:solidFill>
                  <a:srgbClr val="000000"/>
                </a:solidFill>
              </a:rPr>
              <a:pPr/>
              <a:t>96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56541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1CD85B50-874E-412C-BEBB-E331ECB78199}" type="slidenum">
              <a:rPr lang="ru-RU" altLang="ru-RU" sz="1300" smtClean="0">
                <a:solidFill>
                  <a:srgbClr val="000000"/>
                </a:solidFill>
                <a:latin typeface="Arial" charset="0"/>
              </a:rPr>
              <a:pPr>
                <a:spcBef>
                  <a:spcPct val="0"/>
                </a:spcBef>
              </a:pPr>
              <a:t>97</a:t>
            </a:fld>
            <a:endParaRPr lang="ru-RU" altLang="ru-RU" sz="13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37741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1776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11776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00FDDF18-4418-4A1C-A4E4-9786FD9DFE64}" type="slidenum">
              <a:rPr lang="ru-RU" altLang="ru-RU">
                <a:solidFill>
                  <a:srgbClr val="000000"/>
                </a:solidFill>
                <a:latin typeface="Times New Roman" pitchFamily="18" charset="0"/>
              </a:rPr>
              <a:pPr/>
              <a:t>99</a:t>
            </a:fld>
            <a:endParaRPr lang="ru-RU" altLang="ru-RU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031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70659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spcBef>
                <a:spcPct val="0"/>
              </a:spcBef>
              <a:buFontTx/>
              <a:buNone/>
            </a:pPr>
            <a:endParaRPr lang="ru-RU" altLang="ru-RU" dirty="0"/>
          </a:p>
        </p:txBody>
      </p:sp>
      <p:sp>
        <p:nvSpPr>
          <p:cNvPr id="7066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9B985127-C472-4E77-B3FE-D705431562F1}" type="slidenum">
              <a:rPr lang="ru-RU" altLang="ru-RU" smtClean="0">
                <a:latin typeface="Arial" charset="0"/>
              </a:rPr>
              <a:pPr>
                <a:spcBef>
                  <a:spcPct val="0"/>
                </a:spcBef>
              </a:pPr>
              <a:t>13</a:t>
            </a:fld>
            <a:endParaRPr lang="ru-RU" alt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97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ри ведении централизованного казначейства зачастую выделяется единый заемщик, занимающийся заключением и обслуживанием кредитных договоров. В этом случае необходимо обслужить следующий процесс: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Сбор информации о потребности в финансировании дочерних организаций группы.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Консолидация потребностей в финансировании, определение способов их покрытия (заключенные рамочные договоры или ввод нового кредита).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Для новых кредитов – проведение закупочных процедур, выбор банка.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Контрактация, получение кредитных средств.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Передача денежных средств организациям-заявителям при помощи внутригрупповых займов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960578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3798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Заявки на привлечение финансирования</a:t>
            </a:r>
            <a:r>
              <a:rPr lang="ru-RU" baseline="0" dirty="0" smtClean="0"/>
              <a:t> отражают потребность ДЗО в заемных средствах. В них указываются желаемые суммы и сроки финансирования, процентная ставка и периодичность уплаты процентов. Из этих параметров оценивается предварительная величина процентных расходов. Они проходят контроль лимитов БДДС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004013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бработка </a:t>
            </a:r>
            <a:r>
              <a:rPr lang="ru-RU" b="1" dirty="0" smtClean="0"/>
              <a:t>Выбор</a:t>
            </a:r>
            <a:r>
              <a:rPr lang="ru-RU" b="1" baseline="0" dirty="0" smtClean="0"/>
              <a:t> способов покрытия потребности в финансировании </a:t>
            </a:r>
            <a:r>
              <a:rPr lang="ru-RU" baseline="0" dirty="0" smtClean="0"/>
              <a:t>позволяет определить, как будут исполняться заявки. В левой части формы находятся необработанные утвержденные заявки, в правой – список доступных источников финансирования. Несколько заявок могут быть отнесены к одному способу покрытия потребности, в этом случае для их удовлетворения будет заключен один договор кредита или займ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0CD32F-6851-46CA-B390-ED2F448B8709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40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583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402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7172" y="365209"/>
            <a:ext cx="2629585" cy="581318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418" y="365209"/>
            <a:ext cx="7736314" cy="581318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11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382294" y="-4382294"/>
            <a:ext cx="3430588" cy="12195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54876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25786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382294" y="-4382294"/>
            <a:ext cx="3430588" cy="12195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35667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419" y="1825629"/>
            <a:ext cx="10518338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19727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068" y="1709742"/>
            <a:ext cx="10518338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2068" y="4591050"/>
            <a:ext cx="10518338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636192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418" y="1825629"/>
            <a:ext cx="5157543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9214" y="1825629"/>
            <a:ext cx="5157543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6013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536" y="365125"/>
            <a:ext cx="10518338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545" y="1681166"/>
            <a:ext cx="5159659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545" y="2505076"/>
            <a:ext cx="5159659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807" y="1681166"/>
            <a:ext cx="518506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807" y="2505076"/>
            <a:ext cx="518506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52657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39342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067" y="45418"/>
            <a:ext cx="9939690" cy="1325870"/>
          </a:xfrm>
        </p:spPr>
        <p:txBody>
          <a:bodyPr/>
          <a:lstStyle>
            <a:lvl1pPr>
              <a:defRPr sz="2000" b="1">
                <a:solidFill>
                  <a:schemeClr val="bg1">
                    <a:lumMod val="50000"/>
                  </a:schemeClr>
                </a:solidFill>
                <a:latin typeface="Proxima Nova Lt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6816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557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545" y="457200"/>
            <a:ext cx="3933791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067" y="987426"/>
            <a:ext cx="6173807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545" y="2057401"/>
            <a:ext cx="3933791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693108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545" y="457200"/>
            <a:ext cx="3933791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067" y="987426"/>
            <a:ext cx="6173807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545" y="2057401"/>
            <a:ext cx="3933791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097285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419" y="1825629"/>
            <a:ext cx="10518338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5396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7174" y="0"/>
            <a:ext cx="262958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427" y="0"/>
            <a:ext cx="7685501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32356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067" y="1710134"/>
            <a:ext cx="10518338" cy="2853398"/>
          </a:xfrm>
        </p:spPr>
        <p:txBody>
          <a:bodyPr anchor="b"/>
          <a:lstStyle>
            <a:lvl1pPr>
              <a:defRPr sz="60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067" y="4590526"/>
            <a:ext cx="10518338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7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10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840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41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80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854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365210"/>
            <a:ext cx="10518338" cy="132587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7" y="1681552"/>
            <a:ext cx="5159130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7" y="2505655"/>
            <a:ext cx="5159130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3807" y="1681552"/>
            <a:ext cx="518453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807" y="2505655"/>
            <a:ext cx="5184538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9013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995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761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756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4538" y="987654"/>
            <a:ext cx="6173807" cy="4874754"/>
          </a:xfrm>
        </p:spPr>
        <p:txBody>
          <a:bodyPr anchor="t"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3669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76375" y="87700"/>
            <a:ext cx="9880382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419" y="1826048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8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1" y="3735370"/>
            <a:ext cx="181822" cy="371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10899438" y="6310313"/>
            <a:ext cx="918873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chemeClr val="tx2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chemeClr val="tx2"/>
              </a:solidFill>
            </a:endParaRPr>
          </a:p>
        </p:txBody>
      </p:sp>
      <p:sp>
        <p:nvSpPr>
          <p:cNvPr id="9" name="Rectangle 36"/>
          <p:cNvSpPr>
            <a:spLocks noChangeArrowheads="1"/>
          </p:cNvSpPr>
          <p:nvPr userDrawn="1"/>
        </p:nvSpPr>
        <p:spPr bwMode="auto">
          <a:xfrm>
            <a:off x="1" y="3733782"/>
            <a:ext cx="181822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graphicFrame>
        <p:nvGraphicFramePr>
          <p:cNvPr id="10" name="Object 39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40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11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1" descr="Layer 2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73554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5935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1" r:id="rId1"/>
    <p:sldLayoutId id="2147485822" r:id="rId2"/>
    <p:sldLayoutId id="2147485823" r:id="rId3"/>
    <p:sldLayoutId id="2147485824" r:id="rId4"/>
    <p:sldLayoutId id="2147485825" r:id="rId5"/>
    <p:sldLayoutId id="2147485826" r:id="rId6"/>
    <p:sldLayoutId id="2147485827" r:id="rId7"/>
    <p:sldLayoutId id="2147485828" r:id="rId8"/>
    <p:sldLayoutId id="2147485829" r:id="rId9"/>
    <p:sldLayoutId id="2147485830" r:id="rId10"/>
    <p:sldLayoutId id="2147485831" r:id="rId11"/>
    <p:sldLayoutId id="2147485832" r:id="rId12"/>
    <p:sldLayoutId id="2147485833" r:id="rId13"/>
  </p:sldLayoutIdLst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>
              <a:lumMod val="50000"/>
            </a:schemeClr>
          </a:solidFill>
          <a:latin typeface="Proxima Nova Lt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735370"/>
            <a:ext cx="181822" cy="371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47504" y="117476"/>
            <a:ext cx="7691853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899438" y="6310313"/>
            <a:ext cx="918873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733782"/>
            <a:ext cx="181822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184" y="115888"/>
            <a:ext cx="1712829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241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5" r:id="rId1"/>
    <p:sldLayoutId id="2147485836" r:id="rId2"/>
    <p:sldLayoutId id="2147485837" r:id="rId3"/>
    <p:sldLayoutId id="2147485838" r:id="rId4"/>
    <p:sldLayoutId id="2147485839" r:id="rId5"/>
    <p:sldLayoutId id="2147485840" r:id="rId6"/>
    <p:sldLayoutId id="2147485841" r:id="rId7"/>
    <p:sldLayoutId id="2147485842" r:id="rId8"/>
    <p:sldLayoutId id="2147485843" r:id="rId9"/>
    <p:sldLayoutId id="2147485844" r:id="rId10"/>
    <p:sldLayoutId id="214748584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7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31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../media/image32.png"/><Relationship Id="rId4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image" Target="../media/image35.png"/><Relationship Id="rId4" Type="http://schemas.openxmlformats.org/officeDocument/2006/relationships/image" Target="NUL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58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60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8"/>
          <p:cNvSpPr>
            <a:spLocks noChangeArrowheads="1"/>
          </p:cNvSpPr>
          <p:nvPr/>
        </p:nvSpPr>
        <p:spPr bwMode="auto">
          <a:xfrm>
            <a:off x="3433291" y="3573810"/>
            <a:ext cx="8496300" cy="2735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defRPr/>
            </a:pPr>
            <a:r>
              <a:rPr lang="ru-RU" sz="3200" dirty="0">
                <a:solidFill>
                  <a:srgbClr val="808080"/>
                </a:solidFill>
              </a:rPr>
              <a:t>Корпоративное казначейство </a:t>
            </a:r>
            <a:br>
              <a:rPr lang="ru-RU" sz="3200" dirty="0">
                <a:solidFill>
                  <a:srgbClr val="808080"/>
                </a:solidFill>
              </a:rPr>
            </a:br>
            <a:r>
              <a:rPr lang="ru-RU" sz="3200" dirty="0">
                <a:solidFill>
                  <a:srgbClr val="808080"/>
                </a:solidFill>
              </a:rPr>
              <a:t>линейки "1С:Управление холдингом».</a:t>
            </a:r>
          </a:p>
          <a:p>
            <a:pPr algn="r">
              <a:defRPr/>
            </a:pPr>
            <a:r>
              <a:rPr lang="ru-RU" sz="3200" dirty="0">
                <a:solidFill>
                  <a:srgbClr val="808080"/>
                </a:solidFill>
              </a:rPr>
              <a:t>Обзор.</a:t>
            </a:r>
            <a:r>
              <a:rPr lang="ru-RU" sz="2800" dirty="0">
                <a:solidFill>
                  <a:srgbClr val="808080"/>
                </a:solidFill>
              </a:rPr>
              <a:t/>
            </a:r>
            <a:br>
              <a:rPr lang="ru-RU" sz="2800" dirty="0">
                <a:solidFill>
                  <a:srgbClr val="808080"/>
                </a:solidFill>
              </a:rPr>
            </a:br>
            <a:r>
              <a:rPr lang="ru-RU" altLang="ru-RU" sz="2400" b="1" dirty="0">
                <a:solidFill>
                  <a:srgbClr val="C00000"/>
                </a:solidFill>
              </a:rPr>
              <a:t/>
            </a:r>
            <a:br>
              <a:rPr lang="ru-RU" altLang="ru-RU" sz="2400" b="1" dirty="0">
                <a:solidFill>
                  <a:srgbClr val="C00000"/>
                </a:solidFill>
              </a:rPr>
            </a:br>
            <a:r>
              <a:rPr lang="ru-RU" altLang="ru-RU" b="1" dirty="0">
                <a:solidFill>
                  <a:srgbClr val="C00000"/>
                </a:solidFill>
              </a:rPr>
              <a:t/>
            </a:r>
            <a:br>
              <a:rPr lang="ru-RU" altLang="ru-RU" b="1" dirty="0">
                <a:solidFill>
                  <a:srgbClr val="C00000"/>
                </a:solidFill>
              </a:rPr>
            </a:br>
            <a:endParaRPr lang="ru-RU" altLang="ru-RU" b="1" dirty="0">
              <a:solidFill>
                <a:srgbClr val="C00000"/>
              </a:solidFill>
            </a:endParaRPr>
          </a:p>
        </p:txBody>
      </p:sp>
      <p:pic>
        <p:nvPicPr>
          <p:cNvPr id="30723" name="Picture 2" descr="C:\Users\Spevak_D\Desktop\УХ_Главный слайд_белый фон.pn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947" y="130299"/>
            <a:ext cx="5311775" cy="581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Сквозной процесс осуществления платежей</a:t>
            </a:r>
          </a:p>
        </p:txBody>
      </p:sp>
      <p:sp>
        <p:nvSpPr>
          <p:cNvPr id="2" name="Блок-схема: документ 1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42" name="Блок-схема: документ 41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43" name="Блок-схема: документ 42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44" name="Блок-схема: документ 43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еестр платежей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Обмен с банками</a:t>
            </a:r>
          </a:p>
        </p:txBody>
      </p:sp>
      <p:sp>
        <p:nvSpPr>
          <p:cNvPr id="47" name="Блок-схема: документ 46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азнесение выписки</a:t>
            </a:r>
          </a:p>
        </p:txBody>
      </p:sp>
      <p:cxnSp>
        <p:nvCxnSpPr>
          <p:cNvPr id="5" name="Прямая со стрелкой 4"/>
          <p:cNvCxnSpPr>
            <a:stCxn id="2" idx="3"/>
            <a:endCxn id="29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4"/>
          <p:cNvCxnSpPr>
            <a:stCxn id="42" idx="3"/>
            <a:endCxn id="29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4"/>
          <p:cNvCxnSpPr>
            <a:stCxn id="43" idx="3"/>
            <a:endCxn id="3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4"/>
          <p:cNvCxnSpPr>
            <a:stCxn id="3" idx="3"/>
            <a:endCxn id="44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4"/>
          <p:cNvCxnSpPr>
            <a:stCxn id="44" idx="2"/>
            <a:endCxn id="47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4"/>
          <p:cNvCxnSpPr>
            <a:stCxn id="47" idx="1"/>
            <a:endCxn id="46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4"/>
          <p:cNvCxnSpPr>
            <a:stCxn id="46" idx="1"/>
            <a:endCxn id="48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4"/>
          <p:cNvCxnSpPr>
            <a:stCxn id="48" idx="1"/>
            <a:endCxn id="49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Блок-схема: документ 35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39" name="Прямая со стрелкой 4"/>
          <p:cNvCxnSpPr>
            <a:stCxn id="36" idx="3"/>
            <a:endCxn id="3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Блок-схема: узел 28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50" name="Прямая со стрелкой 4"/>
          <p:cNvCxnSpPr>
            <a:stCxn id="29" idx="6"/>
            <a:endCxn id="43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29" idx="6"/>
            <a:endCxn id="36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92657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3</a:t>
            </a:r>
            <a:r>
              <a:rPr lang="ru-RU" dirty="0"/>
              <a:t>8</a:t>
            </a:r>
            <a:r>
              <a:rPr lang="ru-RU" dirty="0" smtClean="0"/>
              <a:t> </a:t>
            </a:r>
            <a:r>
              <a:rPr lang="ru-RU" dirty="0"/>
              <a:t>видов договоров в 6 группах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04303" y="2403823"/>
            <a:ext cx="3432478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C6E51"/>
                </a:solidFill>
              </a:rPr>
              <a:t>Обеспечение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Аккредитив выданный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Гарантия выданная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Залоги и поручительства входящие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Залоги и поручительства исходящие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траховани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350928" y="4598786"/>
            <a:ext cx="2777427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C6E51"/>
                </a:solidFill>
              </a:rPr>
              <a:t>Привлечение средств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Заем полученный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Кредит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Овердрафт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Факторинг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Универсальное привлече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204980" y="3922187"/>
            <a:ext cx="3634778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C6E51"/>
                </a:solidFill>
              </a:rPr>
              <a:t>Производные фин. инструменты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Валютный своп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Поставочный валютный форвард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Расчетный валютный форвард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Процентный своп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Валютно-процентный своп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04304" y="1100904"/>
            <a:ext cx="27434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C6E51"/>
                </a:solidFill>
              </a:rPr>
              <a:t>Размещение средств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Заем выданный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Депозит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Мин. неснижаемый остаток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Универсальное размещени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50928" y="1100904"/>
            <a:ext cx="3197607" cy="357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C6E51"/>
                </a:solidFill>
              </a:rPr>
              <a:t>Продажи и покупки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поставщико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покупателе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комитенто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комиссионеро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комитентом на закупку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комиссионером на закупку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Ввоз из ЕАЭС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Импорт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давальце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переработчико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</a:t>
            </a:r>
            <a:r>
              <a:rPr lang="ru-RU" sz="1400" dirty="0" err="1">
                <a:solidFill>
                  <a:srgbClr val="808080"/>
                </a:solidFill>
              </a:rPr>
              <a:t>поклажедателем</a:t>
            </a:r>
            <a:endParaRPr lang="ru-RU" sz="1400" dirty="0">
              <a:solidFill>
                <a:srgbClr val="808080"/>
              </a:solidFill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С хранителе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Лизинг полученный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Расчетно-кассовое </a:t>
            </a:r>
            <a:r>
              <a:rPr lang="ru-RU" sz="1400" dirty="0" smtClean="0">
                <a:solidFill>
                  <a:srgbClr val="808080"/>
                </a:solidFill>
              </a:rPr>
              <a:t>обслуживание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808080"/>
                </a:solidFill>
              </a:rPr>
              <a:t>С транспортной компанией</a:t>
            </a:r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04304" y="5440553"/>
            <a:ext cx="276620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C6E51"/>
                </a:solidFill>
              </a:rPr>
              <a:t>Прочие виды договоров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/>
                </a:solidFill>
              </a:rPr>
              <a:t>Расчеты с брокером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808080"/>
                </a:solidFill>
              </a:rPr>
              <a:t>Прочее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808080"/>
                </a:solidFill>
              </a:rPr>
              <a:t>Цессия исходящая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808080"/>
                </a:solidFill>
              </a:rPr>
              <a:t>Цессия входящая</a:t>
            </a:r>
            <a:endParaRPr lang="ru-RU" sz="1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531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ые соглашения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6817147" y="2637706"/>
            <a:ext cx="2952328" cy="592020"/>
          </a:xfrm>
          <a:prstGeom prst="rect">
            <a:avLst/>
          </a:prstGeom>
          <a:solidFill>
            <a:srgbClr val="F6B842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dirty="0">
                <a:solidFill>
                  <a:srgbClr val="808080"/>
                </a:solidFill>
              </a:rPr>
              <a:t>Договор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209155" y="2637706"/>
            <a:ext cx="2952328" cy="592020"/>
          </a:xfrm>
          <a:prstGeom prst="rect">
            <a:avLst/>
          </a:prstGeom>
          <a:solidFill>
            <a:srgbClr val="F6B842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b="1" dirty="0">
                <a:solidFill>
                  <a:srgbClr val="808080"/>
                </a:solidFill>
              </a:rPr>
              <a:t>Версия </a:t>
            </a:r>
            <a:r>
              <a:rPr lang="en-US" b="1" dirty="0">
                <a:solidFill>
                  <a:srgbClr val="808080"/>
                </a:solidFill>
              </a:rPr>
              <a:t>N</a:t>
            </a:r>
            <a:endParaRPr lang="ru-RU" b="1" dirty="0">
              <a:solidFill>
                <a:srgbClr val="80808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209155" y="5806058"/>
            <a:ext cx="2952328" cy="592020"/>
          </a:xfrm>
          <a:prstGeom prst="rect">
            <a:avLst/>
          </a:prstGeom>
          <a:solidFill>
            <a:srgbClr val="F6B842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dirty="0">
                <a:solidFill>
                  <a:srgbClr val="808080"/>
                </a:solidFill>
              </a:rPr>
              <a:t>Версия 1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2209155" y="4725938"/>
            <a:ext cx="2952328" cy="592020"/>
          </a:xfrm>
          <a:prstGeom prst="rect">
            <a:avLst/>
          </a:prstGeom>
          <a:solidFill>
            <a:srgbClr val="F6B842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dirty="0">
                <a:solidFill>
                  <a:srgbClr val="808080"/>
                </a:solidFill>
              </a:rPr>
              <a:t>Версия 2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209155" y="3645818"/>
            <a:ext cx="2952328" cy="592020"/>
          </a:xfrm>
          <a:prstGeom prst="rect">
            <a:avLst/>
          </a:prstGeom>
          <a:solidFill>
            <a:srgbClr val="F6B842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dirty="0">
                <a:solidFill>
                  <a:srgbClr val="808080"/>
                </a:solidFill>
              </a:rPr>
              <a:t>Версия 3</a:t>
            </a:r>
          </a:p>
        </p:txBody>
      </p:sp>
      <p:cxnSp>
        <p:nvCxnSpPr>
          <p:cNvPr id="11" name="Прямая со стрелкой 10"/>
          <p:cNvCxnSpPr>
            <a:stCxn id="7" idx="0"/>
            <a:endCxn id="8" idx="2"/>
          </p:cNvCxnSpPr>
          <p:nvPr/>
        </p:nvCxnSpPr>
        <p:spPr bwMode="auto">
          <a:xfrm flipV="1">
            <a:off x="3685319" y="5317958"/>
            <a:ext cx="0" cy="48810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 стрелкой 11"/>
          <p:cNvCxnSpPr>
            <a:stCxn id="8" idx="0"/>
            <a:endCxn id="9" idx="2"/>
          </p:cNvCxnSpPr>
          <p:nvPr/>
        </p:nvCxnSpPr>
        <p:spPr bwMode="auto">
          <a:xfrm flipV="1">
            <a:off x="3685319" y="4237838"/>
            <a:ext cx="0" cy="48810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 стрелкой 15"/>
          <p:cNvCxnSpPr>
            <a:stCxn id="9" idx="0"/>
            <a:endCxn id="6" idx="2"/>
          </p:cNvCxnSpPr>
          <p:nvPr/>
        </p:nvCxnSpPr>
        <p:spPr bwMode="auto">
          <a:xfrm flipV="1">
            <a:off x="3685319" y="3229726"/>
            <a:ext cx="0" cy="416092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FC6E51"/>
            </a:solidFill>
            <a:prstDash val="dash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Прямая со стрелкой 17"/>
          <p:cNvCxnSpPr>
            <a:stCxn id="6" idx="3"/>
            <a:endCxn id="5" idx="1"/>
          </p:cNvCxnSpPr>
          <p:nvPr/>
        </p:nvCxnSpPr>
        <p:spPr bwMode="auto">
          <a:xfrm>
            <a:off x="5161483" y="2933716"/>
            <a:ext cx="1655664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Box 22"/>
          <p:cNvSpPr txBox="1"/>
          <p:nvPr/>
        </p:nvSpPr>
        <p:spPr>
          <a:xfrm>
            <a:off x="5377507" y="3941828"/>
            <a:ext cx="4608512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1440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Учет дополнительных соглашений</a:t>
            </a:r>
          </a:p>
          <a:p>
            <a:pPr marL="342900" indent="-1440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Согласование исходного договора 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и новых версий</a:t>
            </a:r>
          </a:p>
          <a:p>
            <a:pPr marL="342900" indent="-1440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Анализ изменений</a:t>
            </a:r>
            <a:endParaRPr lang="en-US" dirty="0">
              <a:solidFill>
                <a:srgbClr val="808080"/>
              </a:solidFill>
            </a:endParaRPr>
          </a:p>
          <a:p>
            <a:pPr marL="342900" indent="-1440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Прозрачная интеграция с учетным ядром</a:t>
            </a:r>
          </a:p>
          <a:p>
            <a:pPr marL="342900" indent="-3429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rgbClr val="808080"/>
              </a:solidFill>
            </a:endParaRPr>
          </a:p>
          <a:p>
            <a:pPr>
              <a:spcAft>
                <a:spcPts val="1200"/>
              </a:spcAft>
              <a:buClr>
                <a:srgbClr val="FC6E51"/>
              </a:buClr>
            </a:pPr>
            <a:endParaRPr lang="ru-RU" dirty="0"/>
          </a:p>
          <a:p>
            <a:pPr marL="342900" indent="-3429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spcAft>
                <a:spcPts val="1200"/>
              </a:spcAft>
              <a:buClr>
                <a:srgbClr val="FC6E51"/>
              </a:buClr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2209155" y="1557586"/>
            <a:ext cx="2952328" cy="592020"/>
          </a:xfrm>
          <a:prstGeom prst="rect">
            <a:avLst/>
          </a:prstGeom>
          <a:solidFill>
            <a:srgbClr val="F6B842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dirty="0">
                <a:solidFill>
                  <a:srgbClr val="808080"/>
                </a:solidFill>
              </a:rPr>
              <a:t>Версия </a:t>
            </a:r>
            <a:r>
              <a:rPr lang="en-US" dirty="0">
                <a:solidFill>
                  <a:srgbClr val="808080"/>
                </a:solidFill>
              </a:rPr>
              <a:t>N+1 </a:t>
            </a:r>
            <a:r>
              <a:rPr lang="ru-RU" dirty="0">
                <a:solidFill>
                  <a:srgbClr val="808080"/>
                </a:solidFill>
              </a:rPr>
              <a:t>(черновик)</a:t>
            </a:r>
          </a:p>
        </p:txBody>
      </p:sp>
      <p:cxnSp>
        <p:nvCxnSpPr>
          <p:cNvPr id="26" name="Прямая со стрелкой 25"/>
          <p:cNvCxnSpPr>
            <a:stCxn id="6" idx="0"/>
            <a:endCxn id="24" idx="2"/>
          </p:cNvCxnSpPr>
          <p:nvPr/>
        </p:nvCxnSpPr>
        <p:spPr bwMode="auto">
          <a:xfrm flipV="1">
            <a:off x="3685319" y="2149606"/>
            <a:ext cx="0" cy="48810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589224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Возможности калькулятора графиков</a:t>
            </a:r>
            <a:br>
              <a:rPr lang="ru-RU" altLang="ru-RU" dirty="0"/>
            </a:br>
            <a:r>
              <a:rPr lang="ru-RU" altLang="ru-RU" dirty="0"/>
              <a:t>на примере креди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688" y="1773227"/>
            <a:ext cx="7929839" cy="4489128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627275" y="3225519"/>
            <a:ext cx="5401850" cy="288099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27275" y="3520402"/>
            <a:ext cx="5401850" cy="288099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27275" y="3815285"/>
            <a:ext cx="5401850" cy="288099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31088" y="4137740"/>
            <a:ext cx="5401850" cy="288099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27275" y="4473559"/>
            <a:ext cx="5401850" cy="408527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27275" y="4731306"/>
            <a:ext cx="5401850" cy="408527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27275" y="5139833"/>
            <a:ext cx="6698294" cy="1170242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81153" y="3225519"/>
            <a:ext cx="3913199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Кредит или кредитная ли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29125" y="3385434"/>
            <a:ext cx="3913199" cy="584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Возобновляемый или </a:t>
            </a:r>
            <a:r>
              <a:rPr lang="ru-RU" sz="1600" dirty="0" err="1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невозобновляемый</a:t>
            </a:r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 лимит (только КЛ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16365" y="3852950"/>
            <a:ext cx="3913199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Сумма и валюта договор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03604" y="4097300"/>
            <a:ext cx="3913199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Период действия договор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001695" y="4151722"/>
            <a:ext cx="3913199" cy="584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Производственные календари применяются в расчете графиков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94150" y="4588352"/>
            <a:ext cx="3913199" cy="584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Не требуется создавать платежные поручения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408436" y="5582551"/>
            <a:ext cx="3913199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Ограничения транша (только КЛ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179373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30" y="5336571"/>
            <a:ext cx="5321163" cy="1507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981" y="3034881"/>
            <a:ext cx="5346462" cy="17850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Возможности калькулятора графиков</a:t>
            </a:r>
            <a:br>
              <a:rPr lang="ru-RU" altLang="ru-RU" dirty="0"/>
            </a:br>
            <a:r>
              <a:rPr lang="ru-RU" altLang="ru-RU" dirty="0"/>
              <a:t>на примере кредит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30" y="1698194"/>
            <a:ext cx="4256456" cy="6576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6763" y="1689784"/>
            <a:ext cx="4139735" cy="6646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1217" y="1390541"/>
            <a:ext cx="1873807" cy="1303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4" name="Прямая со стрелкой 13"/>
          <p:cNvCxnSpPr/>
          <p:nvPr/>
        </p:nvCxnSpPr>
        <p:spPr>
          <a:xfrm>
            <a:off x="8762500" y="2264715"/>
            <a:ext cx="739983" cy="18132"/>
          </a:xfrm>
          <a:prstGeom prst="straightConnector1">
            <a:avLst/>
          </a:prstGeom>
          <a:noFill/>
          <a:ln w="38100">
            <a:solidFill>
              <a:srgbClr val="FC6E51"/>
            </a:solidFill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TextBox 15"/>
          <p:cNvSpPr txBox="1"/>
          <p:nvPr/>
        </p:nvSpPr>
        <p:spPr>
          <a:xfrm>
            <a:off x="119539" y="1305710"/>
            <a:ext cx="5257801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807" indent="-285807">
              <a:buFont typeface="Arial" panose="020B0604020202020204" pitchFamily="34" charset="0"/>
              <a:buChar char="•"/>
            </a:pPr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Фиксированная ставк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6981" y="3475494"/>
            <a:ext cx="5545899" cy="360123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58430" y="3752021"/>
            <a:ext cx="5545899" cy="360123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66981" y="4238265"/>
            <a:ext cx="5545899" cy="360123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75532" y="4447278"/>
            <a:ext cx="5545899" cy="360123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978793" y="3519760"/>
            <a:ext cx="348105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Индикативная ставка и марж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04329" y="3762478"/>
            <a:ext cx="348105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Коридор ставк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046967" y="4190010"/>
            <a:ext cx="348105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Параметры фиксаци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021430" y="4471610"/>
            <a:ext cx="38667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Возможность </a:t>
            </a:r>
            <a:r>
              <a:rPr lang="ru-RU" sz="1600" dirty="0" smtClean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ручной корректировки</a:t>
            </a:r>
            <a:endParaRPr lang="ru-RU" sz="1600" dirty="0">
              <a:ln>
                <a:solidFill>
                  <a:srgbClr val="FC6E51"/>
                </a:solidFill>
              </a:ln>
              <a:solidFill>
                <a:srgbClr val="FC6E5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3963" y="2619452"/>
            <a:ext cx="5257801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807" indent="-285807">
              <a:buFont typeface="Arial" panose="020B0604020202020204" pitchFamily="34" charset="0"/>
              <a:buChar char="•"/>
            </a:pPr>
            <a:r>
              <a:rPr lang="ru-RU" sz="1600" dirty="0" smtClean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Периодическая плавающая </a:t>
            </a:r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ставк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13525" y="6291486"/>
            <a:ext cx="5545899" cy="547567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959423" y="6522180"/>
            <a:ext cx="38667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Отсрочка вступления в силу</a:t>
            </a:r>
            <a:endParaRPr lang="ru-RU" sz="1600" dirty="0">
              <a:ln>
                <a:solidFill>
                  <a:srgbClr val="FC6E51"/>
                </a:solidFill>
              </a:ln>
              <a:solidFill>
                <a:srgbClr val="FC6E5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38079" y="5010551"/>
            <a:ext cx="5257801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807" indent="-285807">
              <a:buFont typeface="Arial" panose="020B0604020202020204" pitchFamily="34" charset="0"/>
              <a:buChar char="•"/>
            </a:pPr>
            <a:r>
              <a:rPr lang="ru-RU" sz="1600" dirty="0" smtClean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Неп</a:t>
            </a:r>
            <a:r>
              <a:rPr lang="ru-RU" sz="1600" dirty="0" smtClean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ериодическая плавающая </a:t>
            </a:r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ставка</a:t>
            </a:r>
          </a:p>
        </p:txBody>
      </p:sp>
    </p:spTree>
    <p:extLst>
      <p:ext uri="{BB962C8B-B14F-4D97-AF65-F5344CB8AC3E}">
        <p14:creationId xmlns:p14="http://schemas.microsoft.com/office/powerpoint/2010/main" val="1556901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8" grpId="0" animBg="1"/>
      <p:bldP spid="19" grpId="0" animBg="1"/>
      <p:bldP spid="20" grpId="0"/>
      <p:bldP spid="21" grpId="0"/>
      <p:bldP spid="22" grpId="0"/>
      <p:bldP spid="23" grpId="0"/>
      <p:bldP spid="29" grpId="0" animBg="1"/>
      <p:bldP spid="3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450" y="1437108"/>
            <a:ext cx="11232938" cy="47412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рафик расчет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714123" y="3332334"/>
            <a:ext cx="348105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Общий график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84090" y="2300063"/>
            <a:ext cx="348105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Задолженность на сегодн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33800" y="4239228"/>
            <a:ext cx="348105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Детализация выделенной строк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038294" y="1634986"/>
            <a:ext cx="898484" cy="184958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0450" y="1785313"/>
            <a:ext cx="4644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Пересчет графика (полный или частичный)</a:t>
            </a:r>
            <a:endParaRPr lang="ru-RU" sz="1600" dirty="0">
              <a:ln>
                <a:solidFill>
                  <a:srgbClr val="FC6E51"/>
                </a:solidFill>
              </a:ln>
              <a:solidFill>
                <a:srgbClr val="FC6E5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289068" y="1605300"/>
            <a:ext cx="720842" cy="214855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43647" y="1777806"/>
            <a:ext cx="3362226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Обновление графика по факту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905088" y="1632542"/>
            <a:ext cx="819528" cy="185541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30769" y="1777806"/>
            <a:ext cx="3784284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Сравнение с другой версие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441289" y="1626444"/>
            <a:ext cx="898484" cy="184958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863445" y="1776771"/>
            <a:ext cx="3362226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Вывод план-</a:t>
            </a:r>
            <a:r>
              <a:rPr lang="ru-RU" sz="1600" dirty="0" err="1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фактного</a:t>
            </a:r>
            <a:r>
              <a:rPr lang="ru-RU" sz="1600" dirty="0">
                <a:ln>
                  <a:solidFill>
                    <a:srgbClr val="FC6E51"/>
                  </a:solidFill>
                </a:ln>
                <a:solidFill>
                  <a:srgbClr val="FC6E51"/>
                </a:solidFill>
              </a:rPr>
              <a:t> сравнения</a:t>
            </a:r>
          </a:p>
        </p:txBody>
      </p:sp>
    </p:spTree>
    <p:extLst>
      <p:ext uri="{BB962C8B-B14F-4D97-AF65-F5344CB8AC3E}">
        <p14:creationId xmlns:p14="http://schemas.microsoft.com/office/powerpoint/2010/main" val="4244594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ва подхода к исполнению графиков расчетов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7522336"/>
              </p:ext>
            </p:extLst>
          </p:nvPr>
        </p:nvGraphicFramePr>
        <p:xfrm>
          <a:off x="408952" y="1574165"/>
          <a:ext cx="1123325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6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16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>
                          <a:solidFill>
                            <a:srgbClr val="FC6E51"/>
                          </a:solidFill>
                        </a:rPr>
                        <a:t>Используются заявки на оплату</a:t>
                      </a:r>
                      <a:endParaRPr lang="ru-RU" sz="2400" dirty="0">
                        <a:solidFill>
                          <a:srgbClr val="FC6E5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>
                          <a:solidFill>
                            <a:srgbClr val="FC6E51"/>
                          </a:solidFill>
                        </a:rPr>
                        <a:t>Не используются заявки на</a:t>
                      </a:r>
                      <a:r>
                        <a:rPr lang="ru-RU" sz="2400" baseline="0" dirty="0" smtClean="0">
                          <a:solidFill>
                            <a:srgbClr val="FC6E51"/>
                          </a:solidFill>
                        </a:rPr>
                        <a:t> оплату</a:t>
                      </a:r>
                      <a:endParaRPr lang="ru-RU" sz="2400" dirty="0">
                        <a:solidFill>
                          <a:srgbClr val="FC6E5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 smtClean="0">
                          <a:solidFill>
                            <a:srgbClr val="808080"/>
                          </a:solidFill>
                        </a:rPr>
                        <a:t>Согласование </a:t>
                      </a:r>
                      <a:r>
                        <a:rPr lang="ru-RU" sz="2400" dirty="0">
                          <a:solidFill>
                            <a:srgbClr val="808080"/>
                          </a:solidFill>
                        </a:rPr>
                        <a:t>каждой </a:t>
                      </a:r>
                      <a:r>
                        <a:rPr lang="ru-RU" sz="2400" dirty="0" smtClean="0">
                          <a:solidFill>
                            <a:srgbClr val="808080"/>
                          </a:solidFill>
                        </a:rPr>
                        <a:t>операци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 smtClean="0">
                          <a:solidFill>
                            <a:srgbClr val="808080"/>
                          </a:solidFill>
                        </a:rPr>
                        <a:t>График расчетов резервирует</a:t>
                      </a:r>
                      <a:r>
                        <a:rPr lang="ru-RU" sz="2400" baseline="0" dirty="0" smtClean="0">
                          <a:solidFill>
                            <a:srgbClr val="808080"/>
                          </a:solidFill>
                        </a:rPr>
                        <a:t> бюджет для заявок</a:t>
                      </a:r>
                      <a:endParaRPr lang="ru-RU" sz="2400" dirty="0">
                        <a:solidFill>
                          <a:srgbClr val="808080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rgbClr val="808080"/>
                          </a:solidFill>
                        </a:rPr>
                        <a:t>Заявки обновляются</a:t>
                      </a:r>
                      <a:r>
                        <a:rPr lang="ru-RU" sz="2400" baseline="0" dirty="0">
                          <a:solidFill>
                            <a:srgbClr val="808080"/>
                          </a:solidFill>
                        </a:rPr>
                        <a:t> по расписанию</a:t>
                      </a:r>
                      <a:endParaRPr lang="ru-RU" sz="2400" dirty="0">
                        <a:solidFill>
                          <a:srgbClr val="808080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ru-RU" sz="2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5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400" dirty="0" smtClean="0">
                          <a:solidFill>
                            <a:srgbClr val="808080"/>
                          </a:solidFill>
                        </a:rPr>
                        <a:t>Согласование сделки в целом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 smtClean="0">
                          <a:solidFill>
                            <a:srgbClr val="808080"/>
                          </a:solidFill>
                        </a:rPr>
                        <a:t>График расчетов контролируется</a:t>
                      </a:r>
                      <a:r>
                        <a:rPr lang="ru-RU" sz="2400" baseline="0" dirty="0" smtClean="0">
                          <a:solidFill>
                            <a:srgbClr val="808080"/>
                          </a:solidFill>
                        </a:rPr>
                        <a:t> по лимитам</a:t>
                      </a:r>
                      <a:endParaRPr lang="ru-RU" sz="2400" dirty="0">
                        <a:solidFill>
                          <a:srgbClr val="808080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 smtClean="0">
                          <a:solidFill>
                            <a:srgbClr val="808080"/>
                          </a:solidFill>
                        </a:rPr>
                        <a:t>Онлайн-обновление платежных</a:t>
                      </a:r>
                      <a:r>
                        <a:rPr lang="ru-RU" sz="2400" baseline="0" dirty="0" smtClean="0">
                          <a:solidFill>
                            <a:srgbClr val="808080"/>
                          </a:solidFill>
                        </a:rPr>
                        <a:t> позиций</a:t>
                      </a:r>
                      <a:endParaRPr lang="ru-RU" sz="2400" baseline="0" dirty="0">
                        <a:solidFill>
                          <a:srgbClr val="808080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ru-RU" sz="2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Блок-схема: документ 5"/>
          <p:cNvSpPr/>
          <p:nvPr/>
        </p:nvSpPr>
        <p:spPr>
          <a:xfrm>
            <a:off x="213247" y="4801324"/>
            <a:ext cx="1080120" cy="644694"/>
          </a:xfrm>
          <a:prstGeom prst="flowChartDocumen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cs typeface="Tahoma" panose="020B0604030504040204" pitchFamily="34" charset="0"/>
              </a:rPr>
              <a:t>График расчетов</a:t>
            </a:r>
          </a:p>
        </p:txBody>
      </p:sp>
      <p:sp>
        <p:nvSpPr>
          <p:cNvPr id="7" name="Блок-схема: документ 6"/>
          <p:cNvSpPr/>
          <p:nvPr/>
        </p:nvSpPr>
        <p:spPr>
          <a:xfrm>
            <a:off x="1489075" y="4801324"/>
            <a:ext cx="1080120" cy="644694"/>
          </a:xfrm>
          <a:prstGeom prst="flowChartDocumen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Заявки на оплату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998966" y="4002343"/>
            <a:ext cx="1149125" cy="620051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Контроль лимитов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69543" y="5699242"/>
            <a:ext cx="1149125" cy="620051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Позиции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337695" y="5690063"/>
            <a:ext cx="1327844" cy="620051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Исполнение</a:t>
            </a:r>
          </a:p>
        </p:txBody>
      </p:sp>
      <p:cxnSp>
        <p:nvCxnSpPr>
          <p:cNvPr id="11" name="Прямая со стрелкой 4"/>
          <p:cNvCxnSpPr>
            <a:stCxn id="6" idx="3"/>
            <a:endCxn id="7" idx="1"/>
          </p:cNvCxnSpPr>
          <p:nvPr/>
        </p:nvCxnSpPr>
        <p:spPr>
          <a:xfrm>
            <a:off x="1293367" y="5123671"/>
            <a:ext cx="195708" cy="0"/>
          </a:xfrm>
          <a:prstGeom prst="straightConnector1">
            <a:avLst/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4"/>
          <p:cNvCxnSpPr>
            <a:stCxn id="7" idx="3"/>
            <a:endCxn id="8" idx="3"/>
          </p:cNvCxnSpPr>
          <p:nvPr/>
        </p:nvCxnSpPr>
        <p:spPr>
          <a:xfrm flipH="1" flipV="1">
            <a:off x="2148091" y="4312369"/>
            <a:ext cx="421104" cy="811302"/>
          </a:xfrm>
          <a:prstGeom prst="bentConnector3">
            <a:avLst>
              <a:gd name="adj1" fmla="val -54286"/>
            </a:avLst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4"/>
          <p:cNvCxnSpPr>
            <a:stCxn id="7" idx="3"/>
            <a:endCxn id="9" idx="1"/>
          </p:cNvCxnSpPr>
          <p:nvPr/>
        </p:nvCxnSpPr>
        <p:spPr>
          <a:xfrm>
            <a:off x="2569195" y="5123671"/>
            <a:ext cx="400348" cy="885597"/>
          </a:xfrm>
          <a:prstGeom prst="bentConnector3">
            <a:avLst>
              <a:gd name="adj1" fmla="val 55710"/>
            </a:avLst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4"/>
          <p:cNvCxnSpPr>
            <a:stCxn id="9" idx="3"/>
            <a:endCxn id="10" idx="1"/>
          </p:cNvCxnSpPr>
          <p:nvPr/>
        </p:nvCxnSpPr>
        <p:spPr>
          <a:xfrm flipV="1">
            <a:off x="4118668" y="6000089"/>
            <a:ext cx="219027" cy="9179"/>
          </a:xfrm>
          <a:prstGeom prst="straightConnector1">
            <a:avLst/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Блок-схема: документ 25"/>
          <p:cNvSpPr/>
          <p:nvPr/>
        </p:nvSpPr>
        <p:spPr>
          <a:xfrm>
            <a:off x="6313611" y="4816915"/>
            <a:ext cx="1080120" cy="644694"/>
          </a:xfrm>
          <a:prstGeom prst="flowChartDocument">
            <a:avLst/>
          </a:prstGeom>
          <a:solidFill>
            <a:srgbClr val="DBFDAA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cs typeface="Tahoma" panose="020B0604030504040204" pitchFamily="34" charset="0"/>
              </a:rPr>
              <a:t>График расчетов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157122" y="4221882"/>
            <a:ext cx="1149125" cy="620051"/>
          </a:xfrm>
          <a:prstGeom prst="roundRect">
            <a:avLst/>
          </a:prstGeom>
          <a:solidFill>
            <a:srgbClr val="DBFDAA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Контроль лимитов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154119" y="5714833"/>
            <a:ext cx="1149125" cy="620051"/>
          </a:xfrm>
          <a:prstGeom prst="roundRect">
            <a:avLst/>
          </a:prstGeom>
          <a:solidFill>
            <a:srgbClr val="DBFDAA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Позиции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9522271" y="5705654"/>
            <a:ext cx="1327844" cy="620051"/>
          </a:xfrm>
          <a:prstGeom prst="roundRect">
            <a:avLst/>
          </a:prstGeom>
          <a:solidFill>
            <a:srgbClr val="DBFDAA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Исполнение</a:t>
            </a:r>
          </a:p>
        </p:txBody>
      </p:sp>
      <p:cxnSp>
        <p:nvCxnSpPr>
          <p:cNvPr id="32" name="Прямая со стрелкой 4"/>
          <p:cNvCxnSpPr>
            <a:stCxn id="26" idx="3"/>
            <a:endCxn id="28" idx="1"/>
          </p:cNvCxnSpPr>
          <p:nvPr/>
        </p:nvCxnSpPr>
        <p:spPr>
          <a:xfrm flipV="1">
            <a:off x="7393731" y="4531908"/>
            <a:ext cx="763391" cy="607354"/>
          </a:xfrm>
          <a:prstGeom prst="bentConnector3">
            <a:avLst>
              <a:gd name="adj1" fmla="val 50000"/>
            </a:avLst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4"/>
          <p:cNvCxnSpPr>
            <a:stCxn id="26" idx="3"/>
            <a:endCxn id="29" idx="1"/>
          </p:cNvCxnSpPr>
          <p:nvPr/>
        </p:nvCxnSpPr>
        <p:spPr>
          <a:xfrm>
            <a:off x="7393731" y="5139262"/>
            <a:ext cx="760388" cy="885597"/>
          </a:xfrm>
          <a:prstGeom prst="bentConnector3">
            <a:avLst>
              <a:gd name="adj1" fmla="val 50000"/>
            </a:avLst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4"/>
          <p:cNvCxnSpPr>
            <a:stCxn id="29" idx="3"/>
            <a:endCxn id="30" idx="1"/>
          </p:cNvCxnSpPr>
          <p:nvPr/>
        </p:nvCxnSpPr>
        <p:spPr>
          <a:xfrm flipV="1">
            <a:off x="9303244" y="6015680"/>
            <a:ext cx="219027" cy="9179"/>
          </a:xfrm>
          <a:prstGeom prst="straightConnector1">
            <a:avLst/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4"/>
          <p:cNvCxnSpPr>
            <a:stCxn id="6" idx="0"/>
            <a:endCxn id="8" idx="1"/>
          </p:cNvCxnSpPr>
          <p:nvPr/>
        </p:nvCxnSpPr>
        <p:spPr>
          <a:xfrm rot="5400000" flipH="1" flipV="1">
            <a:off x="631659" y="4434018"/>
            <a:ext cx="488955" cy="245659"/>
          </a:xfrm>
          <a:prstGeom prst="bentConnector2">
            <a:avLst/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3005806" y="4002343"/>
            <a:ext cx="1149125" cy="620051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Контроль </a:t>
            </a:r>
            <a:r>
              <a:rPr lang="ru-RU" sz="1400" b="1" dirty="0" smtClean="0">
                <a:solidFill>
                  <a:srgbClr val="80808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резервов</a:t>
            </a:r>
            <a:endParaRPr lang="ru-RU" sz="1400" b="1" dirty="0">
              <a:solidFill>
                <a:srgbClr val="808080"/>
              </a:solidFill>
              <a:latin typeface="Arial" panose="020B0604020202020204" pitchFamily="34" charset="0"/>
              <a:cs typeface="Tahoma" panose="020B0604030504040204" pitchFamily="34" charset="0"/>
            </a:endParaRPr>
          </a:p>
        </p:txBody>
      </p:sp>
      <p:cxnSp>
        <p:nvCxnSpPr>
          <p:cNvPr id="31" name="Прямая со стрелкой 4"/>
          <p:cNvCxnSpPr>
            <a:stCxn id="7" idx="3"/>
            <a:endCxn id="27" idx="1"/>
          </p:cNvCxnSpPr>
          <p:nvPr/>
        </p:nvCxnSpPr>
        <p:spPr>
          <a:xfrm flipV="1">
            <a:off x="2569195" y="4312369"/>
            <a:ext cx="436611" cy="811302"/>
          </a:xfrm>
          <a:prstGeom prst="bentConnector3">
            <a:avLst>
              <a:gd name="adj1" fmla="val 50000"/>
            </a:avLst>
          </a:prstGeom>
          <a:ln w="25400">
            <a:solidFill>
              <a:srgbClr val="808080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819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явки на привлечение финансирова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773C768-8841-4102-A914-51FA0546F4CE}" type="slidenum">
              <a:rPr lang="ru-RU" altLang="ru-RU" smtClean="0"/>
              <a:pPr>
                <a:defRPr/>
              </a:pPr>
              <a:t>17</a:t>
            </a:fld>
            <a:endParaRPr lang="ru-RU" altLang="ru-RU" dirty="0"/>
          </a:p>
        </p:txBody>
      </p:sp>
      <p:sp>
        <p:nvSpPr>
          <p:cNvPr id="7" name="Деньги"/>
          <p:cNvSpPr>
            <a:spLocks noChangeAspect="1" noEditPoints="1"/>
          </p:cNvSpPr>
          <p:nvPr/>
        </p:nvSpPr>
        <p:spPr bwMode="auto">
          <a:xfrm>
            <a:off x="4585069" y="1235312"/>
            <a:ext cx="2647040" cy="1989910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8" name="Банк"/>
          <p:cNvSpPr>
            <a:spLocks noChangeAspect="1" noEditPoints="1"/>
          </p:cNvSpPr>
          <p:nvPr/>
        </p:nvSpPr>
        <p:spPr bwMode="auto">
          <a:xfrm>
            <a:off x="1028722" y="4512900"/>
            <a:ext cx="1539657" cy="1520788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9" name="Freeform 46"/>
          <p:cNvSpPr>
            <a:spLocks noChangeAspect="1" noEditPoints="1"/>
          </p:cNvSpPr>
          <p:nvPr/>
        </p:nvSpPr>
        <p:spPr bwMode="auto">
          <a:xfrm>
            <a:off x="5507417" y="4499336"/>
            <a:ext cx="1105637" cy="1534352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0" name="Freeform 112"/>
          <p:cNvSpPr>
            <a:spLocks noChangeAspect="1" noEditPoints="1"/>
          </p:cNvSpPr>
          <p:nvPr/>
        </p:nvSpPr>
        <p:spPr bwMode="auto">
          <a:xfrm>
            <a:off x="9552090" y="4435385"/>
            <a:ext cx="1281731" cy="1598303"/>
          </a:xfrm>
          <a:custGeom>
            <a:avLst/>
            <a:gdLst>
              <a:gd name="T0" fmla="*/ 2147483647 w 3822"/>
              <a:gd name="T1" fmla="*/ 2147483647 h 4763"/>
              <a:gd name="T2" fmla="*/ 2147483647 w 3822"/>
              <a:gd name="T3" fmla="*/ 2147483647 h 4763"/>
              <a:gd name="T4" fmla="*/ 2147483647 w 3822"/>
              <a:gd name="T5" fmla="*/ 2147483647 h 4763"/>
              <a:gd name="T6" fmla="*/ 2147483647 w 3822"/>
              <a:gd name="T7" fmla="*/ 2147483647 h 4763"/>
              <a:gd name="T8" fmla="*/ 2147483647 w 3822"/>
              <a:gd name="T9" fmla="*/ 2147483647 h 4763"/>
              <a:gd name="T10" fmla="*/ 2147483647 w 3822"/>
              <a:gd name="T11" fmla="*/ 2147483647 h 4763"/>
              <a:gd name="T12" fmla="*/ 2147483647 w 3822"/>
              <a:gd name="T13" fmla="*/ 2147483647 h 4763"/>
              <a:gd name="T14" fmla="*/ 2147483647 w 3822"/>
              <a:gd name="T15" fmla="*/ 2147483647 h 4763"/>
              <a:gd name="T16" fmla="*/ 2147483647 w 3822"/>
              <a:gd name="T17" fmla="*/ 2147483647 h 4763"/>
              <a:gd name="T18" fmla="*/ 2147483647 w 3822"/>
              <a:gd name="T19" fmla="*/ 0 h 4763"/>
              <a:gd name="T20" fmla="*/ 2147483647 w 3822"/>
              <a:gd name="T21" fmla="*/ 2147483647 h 4763"/>
              <a:gd name="T22" fmla="*/ 2147483647 w 3822"/>
              <a:gd name="T23" fmla="*/ 2147483647 h 4763"/>
              <a:gd name="T24" fmla="*/ 2147483647 w 3822"/>
              <a:gd name="T25" fmla="*/ 2147483647 h 4763"/>
              <a:gd name="T26" fmla="*/ 2147483647 w 3822"/>
              <a:gd name="T27" fmla="*/ 2147483647 h 4763"/>
              <a:gd name="T28" fmla="*/ 2147483647 w 3822"/>
              <a:gd name="T29" fmla="*/ 2147483647 h 4763"/>
              <a:gd name="T30" fmla="*/ 2147483647 w 3822"/>
              <a:gd name="T31" fmla="*/ 2147483647 h 4763"/>
              <a:gd name="T32" fmla="*/ 2147483647 w 3822"/>
              <a:gd name="T33" fmla="*/ 2147483647 h 4763"/>
              <a:gd name="T34" fmla="*/ 2147483647 w 3822"/>
              <a:gd name="T35" fmla="*/ 2147483647 h 4763"/>
              <a:gd name="T36" fmla="*/ 2147483647 w 3822"/>
              <a:gd name="T37" fmla="*/ 2147483647 h 4763"/>
              <a:gd name="T38" fmla="*/ 2147483647 w 3822"/>
              <a:gd name="T39" fmla="*/ 2147483647 h 4763"/>
              <a:gd name="T40" fmla="*/ 2147483647 w 3822"/>
              <a:gd name="T41" fmla="*/ 2147483647 h 4763"/>
              <a:gd name="T42" fmla="*/ 2147483647 w 3822"/>
              <a:gd name="T43" fmla="*/ 2147483647 h 4763"/>
              <a:gd name="T44" fmla="*/ 2147483647 w 3822"/>
              <a:gd name="T45" fmla="*/ 2147483647 h 4763"/>
              <a:gd name="T46" fmla="*/ 2147483647 w 3822"/>
              <a:gd name="T47" fmla="*/ 2147483647 h 4763"/>
              <a:gd name="T48" fmla="*/ 2147483647 w 3822"/>
              <a:gd name="T49" fmla="*/ 2147483647 h 4763"/>
              <a:gd name="T50" fmla="*/ 2147483647 w 3822"/>
              <a:gd name="T51" fmla="*/ 2147483647 h 4763"/>
              <a:gd name="T52" fmla="*/ 2147483647 w 3822"/>
              <a:gd name="T53" fmla="*/ 2147483647 h 4763"/>
              <a:gd name="T54" fmla="*/ 2147483647 w 3822"/>
              <a:gd name="T55" fmla="*/ 2147483647 h 4763"/>
              <a:gd name="T56" fmla="*/ 2147483647 w 3822"/>
              <a:gd name="T57" fmla="*/ 2147483647 h 4763"/>
              <a:gd name="T58" fmla="*/ 2147483647 w 3822"/>
              <a:gd name="T59" fmla="*/ 2147483647 h 4763"/>
              <a:gd name="T60" fmla="*/ 2147483647 w 3822"/>
              <a:gd name="T61" fmla="*/ 2147483647 h 4763"/>
              <a:gd name="T62" fmla="*/ 2147483647 w 3822"/>
              <a:gd name="T63" fmla="*/ 2147483647 h 4763"/>
              <a:gd name="T64" fmla="*/ 2147483647 w 3822"/>
              <a:gd name="T65" fmla="*/ 2147483647 h 4763"/>
              <a:gd name="T66" fmla="*/ 2147483647 w 3822"/>
              <a:gd name="T67" fmla="*/ 2147483647 h 4763"/>
              <a:gd name="T68" fmla="*/ 2147483647 w 3822"/>
              <a:gd name="T69" fmla="*/ 2147483647 h 4763"/>
              <a:gd name="T70" fmla="*/ 2147483647 w 3822"/>
              <a:gd name="T71" fmla="*/ 2147483647 h 4763"/>
              <a:gd name="T72" fmla="*/ 2147483647 w 3822"/>
              <a:gd name="T73" fmla="*/ 2147483647 h 4763"/>
              <a:gd name="T74" fmla="*/ 2147483647 w 3822"/>
              <a:gd name="T75" fmla="*/ 2147483647 h 4763"/>
              <a:gd name="T76" fmla="*/ 2147483647 w 3822"/>
              <a:gd name="T77" fmla="*/ 2147483647 h 4763"/>
              <a:gd name="T78" fmla="*/ 2147483647 w 3822"/>
              <a:gd name="T79" fmla="*/ 2147483647 h 4763"/>
              <a:gd name="T80" fmla="*/ 2147483647 w 3822"/>
              <a:gd name="T81" fmla="*/ 2147483647 h 4763"/>
              <a:gd name="T82" fmla="*/ 2147483647 w 3822"/>
              <a:gd name="T83" fmla="*/ 2147483647 h 4763"/>
              <a:gd name="T84" fmla="*/ 2147483647 w 3822"/>
              <a:gd name="T85" fmla="*/ 2147483647 h 4763"/>
              <a:gd name="T86" fmla="*/ 2147483647 w 3822"/>
              <a:gd name="T87" fmla="*/ 2147483647 h 4763"/>
              <a:gd name="T88" fmla="*/ 2147483647 w 3822"/>
              <a:gd name="T89" fmla="*/ 2147483647 h 4763"/>
              <a:gd name="T90" fmla="*/ 2147483647 w 3822"/>
              <a:gd name="T91" fmla="*/ 2147483647 h 4763"/>
              <a:gd name="T92" fmla="*/ 2147483647 w 3822"/>
              <a:gd name="T93" fmla="*/ 2147483647 h 4763"/>
              <a:gd name="T94" fmla="*/ 2147483647 w 3822"/>
              <a:gd name="T95" fmla="*/ 2147483647 h 4763"/>
              <a:gd name="T96" fmla="*/ 2147483647 w 3822"/>
              <a:gd name="T97" fmla="*/ 2147483647 h 4763"/>
              <a:gd name="T98" fmla="*/ 2147483647 w 3822"/>
              <a:gd name="T99" fmla="*/ 2147483647 h 4763"/>
              <a:gd name="T100" fmla="*/ 2147483647 w 3822"/>
              <a:gd name="T101" fmla="*/ 2147483647 h 4763"/>
              <a:gd name="T102" fmla="*/ 2147483647 w 3822"/>
              <a:gd name="T103" fmla="*/ 2147483647 h 4763"/>
              <a:gd name="T104" fmla="*/ 2147483647 w 3822"/>
              <a:gd name="T105" fmla="*/ 2147483647 h 4763"/>
              <a:gd name="T106" fmla="*/ 2147483647 w 3822"/>
              <a:gd name="T107" fmla="*/ 2147483647 h 4763"/>
              <a:gd name="T108" fmla="*/ 2147483647 w 3822"/>
              <a:gd name="T109" fmla="*/ 2147483647 h 4763"/>
              <a:gd name="T110" fmla="*/ 2147483647 w 3822"/>
              <a:gd name="T111" fmla="*/ 2147483647 h 4763"/>
              <a:gd name="T112" fmla="*/ 2147483647 w 3822"/>
              <a:gd name="T113" fmla="*/ 2147483647 h 4763"/>
              <a:gd name="T114" fmla="*/ 2147483647 w 3822"/>
              <a:gd name="T115" fmla="*/ 2147483647 h 4763"/>
              <a:gd name="T116" fmla="*/ 2147483647 w 3822"/>
              <a:gd name="T117" fmla="*/ 2147483647 h 4763"/>
              <a:gd name="T118" fmla="*/ 2147483647 w 3822"/>
              <a:gd name="T119" fmla="*/ 2147483647 h 4763"/>
              <a:gd name="T120" fmla="*/ 2147483647 w 3822"/>
              <a:gd name="T121" fmla="*/ 2147483647 h 4763"/>
              <a:gd name="T122" fmla="*/ 2147483647 w 3822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822"/>
              <a:gd name="T187" fmla="*/ 0 h 4763"/>
              <a:gd name="T188" fmla="*/ 3822 w 3822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822" h="4763">
                <a:moveTo>
                  <a:pt x="2629" y="1997"/>
                </a:moveTo>
                <a:lnTo>
                  <a:pt x="2063" y="1997"/>
                </a:lnTo>
                <a:lnTo>
                  <a:pt x="2063" y="1594"/>
                </a:lnTo>
                <a:lnTo>
                  <a:pt x="2446" y="1594"/>
                </a:lnTo>
                <a:lnTo>
                  <a:pt x="2672" y="1206"/>
                </a:lnTo>
                <a:lnTo>
                  <a:pt x="2649" y="1608"/>
                </a:lnTo>
                <a:lnTo>
                  <a:pt x="2638" y="1803"/>
                </a:lnTo>
                <a:lnTo>
                  <a:pt x="2629" y="1997"/>
                </a:lnTo>
                <a:close/>
                <a:moveTo>
                  <a:pt x="2158" y="1875"/>
                </a:moveTo>
                <a:lnTo>
                  <a:pt x="2158" y="1875"/>
                </a:lnTo>
                <a:lnTo>
                  <a:pt x="2159" y="1867"/>
                </a:lnTo>
                <a:lnTo>
                  <a:pt x="2160" y="1859"/>
                </a:lnTo>
                <a:lnTo>
                  <a:pt x="2164" y="1852"/>
                </a:lnTo>
                <a:lnTo>
                  <a:pt x="2170" y="1847"/>
                </a:lnTo>
                <a:lnTo>
                  <a:pt x="2175" y="1842"/>
                </a:lnTo>
                <a:lnTo>
                  <a:pt x="2182" y="1838"/>
                </a:lnTo>
                <a:lnTo>
                  <a:pt x="2190" y="1835"/>
                </a:lnTo>
                <a:lnTo>
                  <a:pt x="2198" y="1835"/>
                </a:lnTo>
                <a:lnTo>
                  <a:pt x="2206" y="1835"/>
                </a:lnTo>
                <a:lnTo>
                  <a:pt x="2214" y="1838"/>
                </a:lnTo>
                <a:lnTo>
                  <a:pt x="2221" y="1842"/>
                </a:lnTo>
                <a:lnTo>
                  <a:pt x="2226" y="1847"/>
                </a:lnTo>
                <a:lnTo>
                  <a:pt x="2231" y="1852"/>
                </a:lnTo>
                <a:lnTo>
                  <a:pt x="2235" y="1859"/>
                </a:lnTo>
                <a:lnTo>
                  <a:pt x="2237" y="1867"/>
                </a:lnTo>
                <a:lnTo>
                  <a:pt x="2238" y="1875"/>
                </a:lnTo>
                <a:lnTo>
                  <a:pt x="2237" y="1883"/>
                </a:lnTo>
                <a:lnTo>
                  <a:pt x="2235" y="1891"/>
                </a:lnTo>
                <a:lnTo>
                  <a:pt x="2231" y="1898"/>
                </a:lnTo>
                <a:lnTo>
                  <a:pt x="2226" y="1903"/>
                </a:lnTo>
                <a:lnTo>
                  <a:pt x="2221" y="1909"/>
                </a:lnTo>
                <a:lnTo>
                  <a:pt x="2214" y="1911"/>
                </a:lnTo>
                <a:lnTo>
                  <a:pt x="2206" y="1914"/>
                </a:lnTo>
                <a:lnTo>
                  <a:pt x="2198" y="1915"/>
                </a:lnTo>
                <a:lnTo>
                  <a:pt x="2190" y="1914"/>
                </a:lnTo>
                <a:lnTo>
                  <a:pt x="2182" y="1911"/>
                </a:lnTo>
                <a:lnTo>
                  <a:pt x="2175" y="1909"/>
                </a:lnTo>
                <a:lnTo>
                  <a:pt x="2170" y="1903"/>
                </a:lnTo>
                <a:lnTo>
                  <a:pt x="2164" y="1898"/>
                </a:lnTo>
                <a:lnTo>
                  <a:pt x="2160" y="1891"/>
                </a:lnTo>
                <a:lnTo>
                  <a:pt x="2159" y="1883"/>
                </a:lnTo>
                <a:lnTo>
                  <a:pt x="2158" y="1875"/>
                </a:lnTo>
                <a:close/>
                <a:moveTo>
                  <a:pt x="2452" y="3624"/>
                </a:moveTo>
                <a:lnTo>
                  <a:pt x="2452" y="2674"/>
                </a:lnTo>
                <a:lnTo>
                  <a:pt x="2618" y="2674"/>
                </a:lnTo>
                <a:lnTo>
                  <a:pt x="2676" y="3624"/>
                </a:lnTo>
                <a:lnTo>
                  <a:pt x="2452" y="3624"/>
                </a:lnTo>
                <a:close/>
                <a:moveTo>
                  <a:pt x="2816" y="4763"/>
                </a:moveTo>
                <a:lnTo>
                  <a:pt x="2679" y="2666"/>
                </a:lnTo>
                <a:lnTo>
                  <a:pt x="2734" y="1228"/>
                </a:lnTo>
                <a:lnTo>
                  <a:pt x="2737" y="1194"/>
                </a:lnTo>
                <a:lnTo>
                  <a:pt x="2741" y="1158"/>
                </a:lnTo>
                <a:lnTo>
                  <a:pt x="2745" y="1139"/>
                </a:lnTo>
                <a:lnTo>
                  <a:pt x="2749" y="1120"/>
                </a:lnTo>
                <a:lnTo>
                  <a:pt x="2754" y="1100"/>
                </a:lnTo>
                <a:lnTo>
                  <a:pt x="2761" y="1081"/>
                </a:lnTo>
                <a:lnTo>
                  <a:pt x="2769" y="1061"/>
                </a:lnTo>
                <a:lnTo>
                  <a:pt x="2780" y="1042"/>
                </a:lnTo>
                <a:lnTo>
                  <a:pt x="2790" y="1024"/>
                </a:lnTo>
                <a:lnTo>
                  <a:pt x="2804" y="1005"/>
                </a:lnTo>
                <a:lnTo>
                  <a:pt x="2818" y="987"/>
                </a:lnTo>
                <a:lnTo>
                  <a:pt x="2836" y="971"/>
                </a:lnTo>
                <a:lnTo>
                  <a:pt x="2855" y="955"/>
                </a:lnTo>
                <a:lnTo>
                  <a:pt x="2876" y="940"/>
                </a:lnTo>
                <a:lnTo>
                  <a:pt x="3063" y="825"/>
                </a:lnTo>
                <a:lnTo>
                  <a:pt x="3076" y="817"/>
                </a:lnTo>
                <a:lnTo>
                  <a:pt x="3088" y="810"/>
                </a:lnTo>
                <a:lnTo>
                  <a:pt x="3102" y="805"/>
                </a:lnTo>
                <a:lnTo>
                  <a:pt x="3114" y="799"/>
                </a:lnTo>
                <a:lnTo>
                  <a:pt x="3126" y="797"/>
                </a:lnTo>
                <a:lnTo>
                  <a:pt x="3138" y="794"/>
                </a:lnTo>
                <a:lnTo>
                  <a:pt x="3149" y="791"/>
                </a:lnTo>
                <a:lnTo>
                  <a:pt x="3161" y="790"/>
                </a:lnTo>
                <a:lnTo>
                  <a:pt x="3172" y="790"/>
                </a:lnTo>
                <a:lnTo>
                  <a:pt x="3183" y="791"/>
                </a:lnTo>
                <a:lnTo>
                  <a:pt x="3193" y="792"/>
                </a:lnTo>
                <a:lnTo>
                  <a:pt x="3203" y="795"/>
                </a:lnTo>
                <a:lnTo>
                  <a:pt x="3212" y="798"/>
                </a:lnTo>
                <a:lnTo>
                  <a:pt x="3221" y="802"/>
                </a:lnTo>
                <a:lnTo>
                  <a:pt x="3239" y="811"/>
                </a:lnTo>
                <a:lnTo>
                  <a:pt x="3254" y="823"/>
                </a:lnTo>
                <a:lnTo>
                  <a:pt x="3269" y="837"/>
                </a:lnTo>
                <a:lnTo>
                  <a:pt x="3281" y="854"/>
                </a:lnTo>
                <a:lnTo>
                  <a:pt x="3290" y="873"/>
                </a:lnTo>
                <a:lnTo>
                  <a:pt x="3298" y="893"/>
                </a:lnTo>
                <a:lnTo>
                  <a:pt x="3303" y="915"/>
                </a:lnTo>
                <a:lnTo>
                  <a:pt x="3307" y="938"/>
                </a:lnTo>
                <a:lnTo>
                  <a:pt x="3307" y="962"/>
                </a:lnTo>
                <a:lnTo>
                  <a:pt x="3294" y="2497"/>
                </a:lnTo>
                <a:lnTo>
                  <a:pt x="2957" y="2497"/>
                </a:lnTo>
                <a:lnTo>
                  <a:pt x="2957" y="2696"/>
                </a:lnTo>
                <a:lnTo>
                  <a:pt x="3011" y="2696"/>
                </a:lnTo>
                <a:lnTo>
                  <a:pt x="3011" y="2551"/>
                </a:lnTo>
                <a:lnTo>
                  <a:pt x="3294" y="2551"/>
                </a:lnTo>
                <a:lnTo>
                  <a:pt x="3293" y="2674"/>
                </a:lnTo>
                <a:lnTo>
                  <a:pt x="3822" y="2674"/>
                </a:lnTo>
                <a:lnTo>
                  <a:pt x="3822" y="3624"/>
                </a:lnTo>
                <a:lnTo>
                  <a:pt x="3285" y="3624"/>
                </a:lnTo>
                <a:lnTo>
                  <a:pt x="3274" y="4763"/>
                </a:lnTo>
                <a:lnTo>
                  <a:pt x="2816" y="4763"/>
                </a:lnTo>
                <a:close/>
                <a:moveTo>
                  <a:pt x="2992" y="0"/>
                </a:moveTo>
                <a:lnTo>
                  <a:pt x="2992" y="0"/>
                </a:lnTo>
                <a:lnTo>
                  <a:pt x="3012" y="1"/>
                </a:lnTo>
                <a:lnTo>
                  <a:pt x="3031" y="3"/>
                </a:lnTo>
                <a:lnTo>
                  <a:pt x="3050" y="7"/>
                </a:lnTo>
                <a:lnTo>
                  <a:pt x="3068" y="11"/>
                </a:lnTo>
                <a:lnTo>
                  <a:pt x="3094" y="19"/>
                </a:lnTo>
                <a:lnTo>
                  <a:pt x="3118" y="30"/>
                </a:lnTo>
                <a:lnTo>
                  <a:pt x="3142" y="42"/>
                </a:lnTo>
                <a:lnTo>
                  <a:pt x="3164" y="56"/>
                </a:lnTo>
                <a:lnTo>
                  <a:pt x="3185" y="73"/>
                </a:lnTo>
                <a:lnTo>
                  <a:pt x="3204" y="91"/>
                </a:lnTo>
                <a:lnTo>
                  <a:pt x="3221" y="110"/>
                </a:lnTo>
                <a:lnTo>
                  <a:pt x="3239" y="132"/>
                </a:lnTo>
                <a:lnTo>
                  <a:pt x="3254" y="154"/>
                </a:lnTo>
                <a:lnTo>
                  <a:pt x="3266" y="179"/>
                </a:lnTo>
                <a:lnTo>
                  <a:pt x="3278" y="203"/>
                </a:lnTo>
                <a:lnTo>
                  <a:pt x="3287" y="230"/>
                </a:lnTo>
                <a:lnTo>
                  <a:pt x="3294" y="257"/>
                </a:lnTo>
                <a:lnTo>
                  <a:pt x="3299" y="283"/>
                </a:lnTo>
                <a:lnTo>
                  <a:pt x="3303" y="312"/>
                </a:lnTo>
                <a:lnTo>
                  <a:pt x="3305" y="341"/>
                </a:lnTo>
                <a:lnTo>
                  <a:pt x="3305" y="398"/>
                </a:lnTo>
                <a:lnTo>
                  <a:pt x="3305" y="428"/>
                </a:lnTo>
                <a:lnTo>
                  <a:pt x="3303" y="445"/>
                </a:lnTo>
                <a:lnTo>
                  <a:pt x="3299" y="459"/>
                </a:lnTo>
                <a:lnTo>
                  <a:pt x="3294" y="473"/>
                </a:lnTo>
                <a:lnTo>
                  <a:pt x="3285" y="486"/>
                </a:lnTo>
                <a:lnTo>
                  <a:pt x="3275" y="498"/>
                </a:lnTo>
                <a:lnTo>
                  <a:pt x="3263" y="509"/>
                </a:lnTo>
                <a:lnTo>
                  <a:pt x="3250" y="518"/>
                </a:lnTo>
                <a:lnTo>
                  <a:pt x="3235" y="528"/>
                </a:lnTo>
                <a:lnTo>
                  <a:pt x="3227" y="551"/>
                </a:lnTo>
                <a:lnTo>
                  <a:pt x="3217" y="572"/>
                </a:lnTo>
                <a:lnTo>
                  <a:pt x="3207" y="594"/>
                </a:lnTo>
                <a:lnTo>
                  <a:pt x="3195" y="614"/>
                </a:lnTo>
                <a:lnTo>
                  <a:pt x="3181" y="633"/>
                </a:lnTo>
                <a:lnTo>
                  <a:pt x="3166" y="650"/>
                </a:lnTo>
                <a:lnTo>
                  <a:pt x="3150" y="666"/>
                </a:lnTo>
                <a:lnTo>
                  <a:pt x="3133" y="681"/>
                </a:lnTo>
                <a:lnTo>
                  <a:pt x="3114" y="696"/>
                </a:lnTo>
                <a:lnTo>
                  <a:pt x="3095" y="708"/>
                </a:lnTo>
                <a:lnTo>
                  <a:pt x="3075" y="717"/>
                </a:lnTo>
                <a:lnTo>
                  <a:pt x="3054" y="727"/>
                </a:lnTo>
                <a:lnTo>
                  <a:pt x="3032" y="733"/>
                </a:lnTo>
                <a:lnTo>
                  <a:pt x="3011" y="739"/>
                </a:lnTo>
                <a:lnTo>
                  <a:pt x="2986" y="741"/>
                </a:lnTo>
                <a:lnTo>
                  <a:pt x="2964" y="743"/>
                </a:lnTo>
                <a:lnTo>
                  <a:pt x="2949" y="743"/>
                </a:lnTo>
                <a:lnTo>
                  <a:pt x="2934" y="741"/>
                </a:lnTo>
                <a:lnTo>
                  <a:pt x="2919" y="739"/>
                </a:lnTo>
                <a:lnTo>
                  <a:pt x="2904" y="736"/>
                </a:lnTo>
                <a:lnTo>
                  <a:pt x="2878" y="728"/>
                </a:lnTo>
                <a:lnTo>
                  <a:pt x="2851" y="717"/>
                </a:lnTo>
                <a:lnTo>
                  <a:pt x="2825" y="704"/>
                </a:lnTo>
                <a:lnTo>
                  <a:pt x="2802" y="688"/>
                </a:lnTo>
                <a:lnTo>
                  <a:pt x="2780" y="670"/>
                </a:lnTo>
                <a:lnTo>
                  <a:pt x="2759" y="650"/>
                </a:lnTo>
                <a:lnTo>
                  <a:pt x="2742" y="627"/>
                </a:lnTo>
                <a:lnTo>
                  <a:pt x="2726" y="603"/>
                </a:lnTo>
                <a:lnTo>
                  <a:pt x="2711" y="578"/>
                </a:lnTo>
                <a:lnTo>
                  <a:pt x="2699" y="549"/>
                </a:lnTo>
                <a:lnTo>
                  <a:pt x="2690" y="521"/>
                </a:lnTo>
                <a:lnTo>
                  <a:pt x="2683" y="492"/>
                </a:lnTo>
                <a:lnTo>
                  <a:pt x="2679" y="461"/>
                </a:lnTo>
                <a:lnTo>
                  <a:pt x="2677" y="428"/>
                </a:lnTo>
                <a:lnTo>
                  <a:pt x="2677" y="341"/>
                </a:lnTo>
                <a:lnTo>
                  <a:pt x="2677" y="324"/>
                </a:lnTo>
                <a:lnTo>
                  <a:pt x="2679" y="305"/>
                </a:lnTo>
                <a:lnTo>
                  <a:pt x="2681" y="287"/>
                </a:lnTo>
                <a:lnTo>
                  <a:pt x="2684" y="270"/>
                </a:lnTo>
                <a:lnTo>
                  <a:pt x="2688" y="254"/>
                </a:lnTo>
                <a:lnTo>
                  <a:pt x="2694" y="238"/>
                </a:lnTo>
                <a:lnTo>
                  <a:pt x="2699" y="222"/>
                </a:lnTo>
                <a:lnTo>
                  <a:pt x="2706" y="206"/>
                </a:lnTo>
                <a:lnTo>
                  <a:pt x="2712" y="191"/>
                </a:lnTo>
                <a:lnTo>
                  <a:pt x="2720" y="176"/>
                </a:lnTo>
                <a:lnTo>
                  <a:pt x="2728" y="161"/>
                </a:lnTo>
                <a:lnTo>
                  <a:pt x="2738" y="148"/>
                </a:lnTo>
                <a:lnTo>
                  <a:pt x="2749" y="134"/>
                </a:lnTo>
                <a:lnTo>
                  <a:pt x="2758" y="122"/>
                </a:lnTo>
                <a:lnTo>
                  <a:pt x="2770" y="110"/>
                </a:lnTo>
                <a:lnTo>
                  <a:pt x="2781" y="98"/>
                </a:lnTo>
                <a:lnTo>
                  <a:pt x="2751" y="82"/>
                </a:lnTo>
                <a:lnTo>
                  <a:pt x="2745" y="77"/>
                </a:lnTo>
                <a:lnTo>
                  <a:pt x="2738" y="71"/>
                </a:lnTo>
                <a:lnTo>
                  <a:pt x="2732" y="66"/>
                </a:lnTo>
                <a:lnTo>
                  <a:pt x="2728" y="59"/>
                </a:lnTo>
                <a:lnTo>
                  <a:pt x="2726" y="52"/>
                </a:lnTo>
                <a:lnTo>
                  <a:pt x="2724" y="47"/>
                </a:lnTo>
                <a:lnTo>
                  <a:pt x="2724" y="40"/>
                </a:lnTo>
                <a:lnTo>
                  <a:pt x="2724" y="34"/>
                </a:lnTo>
                <a:lnTo>
                  <a:pt x="2726" y="28"/>
                </a:lnTo>
                <a:lnTo>
                  <a:pt x="2727" y="21"/>
                </a:lnTo>
                <a:lnTo>
                  <a:pt x="2731" y="17"/>
                </a:lnTo>
                <a:lnTo>
                  <a:pt x="2734" y="12"/>
                </a:lnTo>
                <a:lnTo>
                  <a:pt x="2739" y="9"/>
                </a:lnTo>
                <a:lnTo>
                  <a:pt x="2743" y="5"/>
                </a:lnTo>
                <a:lnTo>
                  <a:pt x="2749" y="4"/>
                </a:lnTo>
                <a:lnTo>
                  <a:pt x="2755" y="4"/>
                </a:lnTo>
                <a:lnTo>
                  <a:pt x="2974" y="1"/>
                </a:lnTo>
                <a:lnTo>
                  <a:pt x="2992" y="0"/>
                </a:lnTo>
                <a:close/>
                <a:moveTo>
                  <a:pt x="3196" y="387"/>
                </a:moveTo>
                <a:lnTo>
                  <a:pt x="3196" y="428"/>
                </a:lnTo>
                <a:lnTo>
                  <a:pt x="3195" y="455"/>
                </a:lnTo>
                <a:lnTo>
                  <a:pt x="3191" y="482"/>
                </a:lnTo>
                <a:lnTo>
                  <a:pt x="3185" y="506"/>
                </a:lnTo>
                <a:lnTo>
                  <a:pt x="3177" y="531"/>
                </a:lnTo>
                <a:lnTo>
                  <a:pt x="3166" y="553"/>
                </a:lnTo>
                <a:lnTo>
                  <a:pt x="3156" y="575"/>
                </a:lnTo>
                <a:lnTo>
                  <a:pt x="3142" y="595"/>
                </a:lnTo>
                <a:lnTo>
                  <a:pt x="3126" y="614"/>
                </a:lnTo>
                <a:lnTo>
                  <a:pt x="3110" y="630"/>
                </a:lnTo>
                <a:lnTo>
                  <a:pt x="3093" y="645"/>
                </a:lnTo>
                <a:lnTo>
                  <a:pt x="3072" y="658"/>
                </a:lnTo>
                <a:lnTo>
                  <a:pt x="3052" y="669"/>
                </a:lnTo>
                <a:lnTo>
                  <a:pt x="3031" y="677"/>
                </a:lnTo>
                <a:lnTo>
                  <a:pt x="3009" y="684"/>
                </a:lnTo>
                <a:lnTo>
                  <a:pt x="2986" y="688"/>
                </a:lnTo>
                <a:lnTo>
                  <a:pt x="2964" y="689"/>
                </a:lnTo>
                <a:lnTo>
                  <a:pt x="2939" y="688"/>
                </a:lnTo>
                <a:lnTo>
                  <a:pt x="2917" y="684"/>
                </a:lnTo>
                <a:lnTo>
                  <a:pt x="2895" y="677"/>
                </a:lnTo>
                <a:lnTo>
                  <a:pt x="2874" y="669"/>
                </a:lnTo>
                <a:lnTo>
                  <a:pt x="2853" y="658"/>
                </a:lnTo>
                <a:lnTo>
                  <a:pt x="2835" y="645"/>
                </a:lnTo>
                <a:lnTo>
                  <a:pt x="2816" y="630"/>
                </a:lnTo>
                <a:lnTo>
                  <a:pt x="2800" y="614"/>
                </a:lnTo>
                <a:lnTo>
                  <a:pt x="2785" y="595"/>
                </a:lnTo>
                <a:lnTo>
                  <a:pt x="2771" y="575"/>
                </a:lnTo>
                <a:lnTo>
                  <a:pt x="2759" y="553"/>
                </a:lnTo>
                <a:lnTo>
                  <a:pt x="2750" y="531"/>
                </a:lnTo>
                <a:lnTo>
                  <a:pt x="2742" y="506"/>
                </a:lnTo>
                <a:lnTo>
                  <a:pt x="2735" y="482"/>
                </a:lnTo>
                <a:lnTo>
                  <a:pt x="2732" y="455"/>
                </a:lnTo>
                <a:lnTo>
                  <a:pt x="2731" y="428"/>
                </a:lnTo>
                <a:lnTo>
                  <a:pt x="2731" y="341"/>
                </a:lnTo>
                <a:lnTo>
                  <a:pt x="2731" y="325"/>
                </a:lnTo>
                <a:lnTo>
                  <a:pt x="2732" y="308"/>
                </a:lnTo>
                <a:lnTo>
                  <a:pt x="2735" y="291"/>
                </a:lnTo>
                <a:lnTo>
                  <a:pt x="2738" y="277"/>
                </a:lnTo>
                <a:lnTo>
                  <a:pt x="2742" y="261"/>
                </a:lnTo>
                <a:lnTo>
                  <a:pt x="2747" y="246"/>
                </a:lnTo>
                <a:lnTo>
                  <a:pt x="2753" y="231"/>
                </a:lnTo>
                <a:lnTo>
                  <a:pt x="2758" y="218"/>
                </a:lnTo>
                <a:lnTo>
                  <a:pt x="2766" y="204"/>
                </a:lnTo>
                <a:lnTo>
                  <a:pt x="2773" y="191"/>
                </a:lnTo>
                <a:lnTo>
                  <a:pt x="2782" y="179"/>
                </a:lnTo>
                <a:lnTo>
                  <a:pt x="2790" y="167"/>
                </a:lnTo>
                <a:lnTo>
                  <a:pt x="2800" y="156"/>
                </a:lnTo>
                <a:lnTo>
                  <a:pt x="2810" y="145"/>
                </a:lnTo>
                <a:lnTo>
                  <a:pt x="2821" y="136"/>
                </a:lnTo>
                <a:lnTo>
                  <a:pt x="2832" y="126"/>
                </a:lnTo>
                <a:lnTo>
                  <a:pt x="2998" y="219"/>
                </a:lnTo>
                <a:lnTo>
                  <a:pt x="2927" y="301"/>
                </a:lnTo>
                <a:lnTo>
                  <a:pt x="3084" y="306"/>
                </a:lnTo>
                <a:lnTo>
                  <a:pt x="3084" y="387"/>
                </a:lnTo>
                <a:lnTo>
                  <a:pt x="3196" y="387"/>
                </a:lnTo>
                <a:close/>
                <a:moveTo>
                  <a:pt x="629" y="21"/>
                </a:moveTo>
                <a:lnTo>
                  <a:pt x="629" y="21"/>
                </a:lnTo>
                <a:lnTo>
                  <a:pt x="645" y="21"/>
                </a:lnTo>
                <a:lnTo>
                  <a:pt x="661" y="23"/>
                </a:lnTo>
                <a:lnTo>
                  <a:pt x="676" y="26"/>
                </a:lnTo>
                <a:lnTo>
                  <a:pt x="691" y="30"/>
                </a:lnTo>
                <a:lnTo>
                  <a:pt x="716" y="34"/>
                </a:lnTo>
                <a:lnTo>
                  <a:pt x="742" y="42"/>
                </a:lnTo>
                <a:lnTo>
                  <a:pt x="767" y="51"/>
                </a:lnTo>
                <a:lnTo>
                  <a:pt x="790" y="63"/>
                </a:lnTo>
                <a:lnTo>
                  <a:pt x="813" y="78"/>
                </a:lnTo>
                <a:lnTo>
                  <a:pt x="833" y="94"/>
                </a:lnTo>
                <a:lnTo>
                  <a:pt x="853" y="113"/>
                </a:lnTo>
                <a:lnTo>
                  <a:pt x="871" y="133"/>
                </a:lnTo>
                <a:lnTo>
                  <a:pt x="887" y="154"/>
                </a:lnTo>
                <a:lnTo>
                  <a:pt x="901" y="177"/>
                </a:lnTo>
                <a:lnTo>
                  <a:pt x="914" y="201"/>
                </a:lnTo>
                <a:lnTo>
                  <a:pt x="924" y="228"/>
                </a:lnTo>
                <a:lnTo>
                  <a:pt x="932" y="255"/>
                </a:lnTo>
                <a:lnTo>
                  <a:pt x="938" y="283"/>
                </a:lnTo>
                <a:lnTo>
                  <a:pt x="942" y="312"/>
                </a:lnTo>
                <a:lnTo>
                  <a:pt x="943" y="341"/>
                </a:lnTo>
                <a:lnTo>
                  <a:pt x="943" y="428"/>
                </a:lnTo>
                <a:lnTo>
                  <a:pt x="942" y="461"/>
                </a:lnTo>
                <a:lnTo>
                  <a:pt x="938" y="492"/>
                </a:lnTo>
                <a:lnTo>
                  <a:pt x="931" y="521"/>
                </a:lnTo>
                <a:lnTo>
                  <a:pt x="922" y="549"/>
                </a:lnTo>
                <a:lnTo>
                  <a:pt x="909" y="578"/>
                </a:lnTo>
                <a:lnTo>
                  <a:pt x="895" y="603"/>
                </a:lnTo>
                <a:lnTo>
                  <a:pt x="879" y="627"/>
                </a:lnTo>
                <a:lnTo>
                  <a:pt x="860" y="650"/>
                </a:lnTo>
                <a:lnTo>
                  <a:pt x="840" y="670"/>
                </a:lnTo>
                <a:lnTo>
                  <a:pt x="818" y="688"/>
                </a:lnTo>
                <a:lnTo>
                  <a:pt x="794" y="704"/>
                </a:lnTo>
                <a:lnTo>
                  <a:pt x="770" y="717"/>
                </a:lnTo>
                <a:lnTo>
                  <a:pt x="743" y="728"/>
                </a:lnTo>
                <a:lnTo>
                  <a:pt x="716" y="736"/>
                </a:lnTo>
                <a:lnTo>
                  <a:pt x="701" y="739"/>
                </a:lnTo>
                <a:lnTo>
                  <a:pt x="686" y="741"/>
                </a:lnTo>
                <a:lnTo>
                  <a:pt x="672" y="743"/>
                </a:lnTo>
                <a:lnTo>
                  <a:pt x="657" y="743"/>
                </a:lnTo>
                <a:lnTo>
                  <a:pt x="639" y="741"/>
                </a:lnTo>
                <a:lnTo>
                  <a:pt x="622" y="740"/>
                </a:lnTo>
                <a:lnTo>
                  <a:pt x="605" y="737"/>
                </a:lnTo>
                <a:lnTo>
                  <a:pt x="587" y="733"/>
                </a:lnTo>
                <a:lnTo>
                  <a:pt x="571" y="728"/>
                </a:lnTo>
                <a:lnTo>
                  <a:pt x="555" y="723"/>
                </a:lnTo>
                <a:lnTo>
                  <a:pt x="540" y="715"/>
                </a:lnTo>
                <a:lnTo>
                  <a:pt x="525" y="708"/>
                </a:lnTo>
                <a:lnTo>
                  <a:pt x="510" y="698"/>
                </a:lnTo>
                <a:lnTo>
                  <a:pt x="496" y="689"/>
                </a:lnTo>
                <a:lnTo>
                  <a:pt x="484" y="678"/>
                </a:lnTo>
                <a:lnTo>
                  <a:pt x="470" y="666"/>
                </a:lnTo>
                <a:lnTo>
                  <a:pt x="458" y="654"/>
                </a:lnTo>
                <a:lnTo>
                  <a:pt x="447" y="642"/>
                </a:lnTo>
                <a:lnTo>
                  <a:pt x="435" y="627"/>
                </a:lnTo>
                <a:lnTo>
                  <a:pt x="426" y="614"/>
                </a:lnTo>
                <a:lnTo>
                  <a:pt x="403" y="604"/>
                </a:lnTo>
                <a:lnTo>
                  <a:pt x="382" y="594"/>
                </a:lnTo>
                <a:lnTo>
                  <a:pt x="363" y="582"/>
                </a:lnTo>
                <a:lnTo>
                  <a:pt x="347" y="568"/>
                </a:lnTo>
                <a:lnTo>
                  <a:pt x="340" y="560"/>
                </a:lnTo>
                <a:lnTo>
                  <a:pt x="333" y="553"/>
                </a:lnTo>
                <a:lnTo>
                  <a:pt x="328" y="544"/>
                </a:lnTo>
                <a:lnTo>
                  <a:pt x="324" y="536"/>
                </a:lnTo>
                <a:lnTo>
                  <a:pt x="320" y="527"/>
                </a:lnTo>
                <a:lnTo>
                  <a:pt x="317" y="517"/>
                </a:lnTo>
                <a:lnTo>
                  <a:pt x="316" y="508"/>
                </a:lnTo>
                <a:lnTo>
                  <a:pt x="316" y="497"/>
                </a:lnTo>
                <a:lnTo>
                  <a:pt x="316" y="363"/>
                </a:lnTo>
                <a:lnTo>
                  <a:pt x="317" y="328"/>
                </a:lnTo>
                <a:lnTo>
                  <a:pt x="321" y="296"/>
                </a:lnTo>
                <a:lnTo>
                  <a:pt x="329" y="263"/>
                </a:lnTo>
                <a:lnTo>
                  <a:pt x="339" y="231"/>
                </a:lnTo>
                <a:lnTo>
                  <a:pt x="352" y="201"/>
                </a:lnTo>
                <a:lnTo>
                  <a:pt x="367" y="173"/>
                </a:lnTo>
                <a:lnTo>
                  <a:pt x="386" y="148"/>
                </a:lnTo>
                <a:lnTo>
                  <a:pt x="404" y="124"/>
                </a:lnTo>
                <a:lnTo>
                  <a:pt x="427" y="101"/>
                </a:lnTo>
                <a:lnTo>
                  <a:pt x="451" y="81"/>
                </a:lnTo>
                <a:lnTo>
                  <a:pt x="477" y="63"/>
                </a:lnTo>
                <a:lnTo>
                  <a:pt x="490" y="56"/>
                </a:lnTo>
                <a:lnTo>
                  <a:pt x="504" y="48"/>
                </a:lnTo>
                <a:lnTo>
                  <a:pt x="519" y="43"/>
                </a:lnTo>
                <a:lnTo>
                  <a:pt x="533" y="38"/>
                </a:lnTo>
                <a:lnTo>
                  <a:pt x="548" y="32"/>
                </a:lnTo>
                <a:lnTo>
                  <a:pt x="564" y="28"/>
                </a:lnTo>
                <a:lnTo>
                  <a:pt x="579" y="26"/>
                </a:lnTo>
                <a:lnTo>
                  <a:pt x="595" y="23"/>
                </a:lnTo>
                <a:lnTo>
                  <a:pt x="611" y="21"/>
                </a:lnTo>
                <a:lnTo>
                  <a:pt x="629" y="21"/>
                </a:lnTo>
                <a:close/>
                <a:moveTo>
                  <a:pt x="446" y="539"/>
                </a:moveTo>
                <a:lnTo>
                  <a:pt x="446" y="539"/>
                </a:lnTo>
                <a:lnTo>
                  <a:pt x="459" y="565"/>
                </a:lnTo>
                <a:lnTo>
                  <a:pt x="474" y="590"/>
                </a:lnTo>
                <a:lnTo>
                  <a:pt x="492" y="611"/>
                </a:lnTo>
                <a:lnTo>
                  <a:pt x="512" y="631"/>
                </a:lnTo>
                <a:lnTo>
                  <a:pt x="527" y="645"/>
                </a:lnTo>
                <a:lnTo>
                  <a:pt x="544" y="655"/>
                </a:lnTo>
                <a:lnTo>
                  <a:pt x="562" y="665"/>
                </a:lnTo>
                <a:lnTo>
                  <a:pt x="579" y="674"/>
                </a:lnTo>
                <a:lnTo>
                  <a:pt x="598" y="680"/>
                </a:lnTo>
                <a:lnTo>
                  <a:pt x="617" y="685"/>
                </a:lnTo>
                <a:lnTo>
                  <a:pt x="637" y="688"/>
                </a:lnTo>
                <a:lnTo>
                  <a:pt x="657" y="689"/>
                </a:lnTo>
                <a:lnTo>
                  <a:pt x="680" y="688"/>
                </a:lnTo>
                <a:lnTo>
                  <a:pt x="703" y="684"/>
                </a:lnTo>
                <a:lnTo>
                  <a:pt x="725" y="677"/>
                </a:lnTo>
                <a:lnTo>
                  <a:pt x="747" y="669"/>
                </a:lnTo>
                <a:lnTo>
                  <a:pt x="767" y="658"/>
                </a:lnTo>
                <a:lnTo>
                  <a:pt x="786" y="645"/>
                </a:lnTo>
                <a:lnTo>
                  <a:pt x="803" y="630"/>
                </a:lnTo>
                <a:lnTo>
                  <a:pt x="821" y="614"/>
                </a:lnTo>
                <a:lnTo>
                  <a:pt x="836" y="595"/>
                </a:lnTo>
                <a:lnTo>
                  <a:pt x="849" y="575"/>
                </a:lnTo>
                <a:lnTo>
                  <a:pt x="861" y="553"/>
                </a:lnTo>
                <a:lnTo>
                  <a:pt x="871" y="531"/>
                </a:lnTo>
                <a:lnTo>
                  <a:pt x="879" y="506"/>
                </a:lnTo>
                <a:lnTo>
                  <a:pt x="884" y="482"/>
                </a:lnTo>
                <a:lnTo>
                  <a:pt x="888" y="455"/>
                </a:lnTo>
                <a:lnTo>
                  <a:pt x="889" y="428"/>
                </a:lnTo>
                <a:lnTo>
                  <a:pt x="889" y="341"/>
                </a:lnTo>
                <a:lnTo>
                  <a:pt x="888" y="318"/>
                </a:lnTo>
                <a:lnTo>
                  <a:pt x="885" y="297"/>
                </a:lnTo>
                <a:lnTo>
                  <a:pt x="881" y="275"/>
                </a:lnTo>
                <a:lnTo>
                  <a:pt x="876" y="255"/>
                </a:lnTo>
                <a:lnTo>
                  <a:pt x="869" y="235"/>
                </a:lnTo>
                <a:lnTo>
                  <a:pt x="861" y="216"/>
                </a:lnTo>
                <a:lnTo>
                  <a:pt x="852" y="199"/>
                </a:lnTo>
                <a:lnTo>
                  <a:pt x="841" y="181"/>
                </a:lnTo>
                <a:lnTo>
                  <a:pt x="742" y="181"/>
                </a:lnTo>
                <a:lnTo>
                  <a:pt x="720" y="183"/>
                </a:lnTo>
                <a:lnTo>
                  <a:pt x="701" y="187"/>
                </a:lnTo>
                <a:lnTo>
                  <a:pt x="684" y="192"/>
                </a:lnTo>
                <a:lnTo>
                  <a:pt x="670" y="200"/>
                </a:lnTo>
                <a:lnTo>
                  <a:pt x="658" y="210"/>
                </a:lnTo>
                <a:lnTo>
                  <a:pt x="649" y="222"/>
                </a:lnTo>
                <a:lnTo>
                  <a:pt x="641" y="235"/>
                </a:lnTo>
                <a:lnTo>
                  <a:pt x="634" y="248"/>
                </a:lnTo>
                <a:lnTo>
                  <a:pt x="630" y="265"/>
                </a:lnTo>
                <a:lnTo>
                  <a:pt x="626" y="282"/>
                </a:lnTo>
                <a:lnTo>
                  <a:pt x="623" y="300"/>
                </a:lnTo>
                <a:lnTo>
                  <a:pt x="622" y="318"/>
                </a:lnTo>
                <a:lnTo>
                  <a:pt x="621" y="357"/>
                </a:lnTo>
                <a:lnTo>
                  <a:pt x="621" y="396"/>
                </a:lnTo>
                <a:lnTo>
                  <a:pt x="531" y="317"/>
                </a:lnTo>
                <a:lnTo>
                  <a:pt x="531" y="497"/>
                </a:lnTo>
                <a:lnTo>
                  <a:pt x="446" y="539"/>
                </a:lnTo>
                <a:close/>
                <a:moveTo>
                  <a:pt x="1356" y="1970"/>
                </a:moveTo>
                <a:lnTo>
                  <a:pt x="1356" y="1640"/>
                </a:lnTo>
                <a:lnTo>
                  <a:pt x="911" y="1640"/>
                </a:lnTo>
                <a:lnTo>
                  <a:pt x="899" y="1629"/>
                </a:lnTo>
                <a:lnTo>
                  <a:pt x="871" y="1602"/>
                </a:lnTo>
                <a:lnTo>
                  <a:pt x="860" y="1381"/>
                </a:lnTo>
                <a:lnTo>
                  <a:pt x="856" y="1315"/>
                </a:lnTo>
                <a:lnTo>
                  <a:pt x="849" y="1257"/>
                </a:lnTo>
                <a:lnTo>
                  <a:pt x="846" y="1232"/>
                </a:lnTo>
                <a:lnTo>
                  <a:pt x="842" y="1209"/>
                </a:lnTo>
                <a:lnTo>
                  <a:pt x="837" y="1187"/>
                </a:lnTo>
                <a:lnTo>
                  <a:pt x="832" y="1166"/>
                </a:lnTo>
                <a:lnTo>
                  <a:pt x="825" y="1147"/>
                </a:lnTo>
                <a:lnTo>
                  <a:pt x="817" y="1130"/>
                </a:lnTo>
                <a:lnTo>
                  <a:pt x="809" y="1114"/>
                </a:lnTo>
                <a:lnTo>
                  <a:pt x="798" y="1099"/>
                </a:lnTo>
                <a:lnTo>
                  <a:pt x="787" y="1084"/>
                </a:lnTo>
                <a:lnTo>
                  <a:pt x="775" y="1071"/>
                </a:lnTo>
                <a:lnTo>
                  <a:pt x="760" y="1058"/>
                </a:lnTo>
                <a:lnTo>
                  <a:pt x="746" y="1046"/>
                </a:lnTo>
                <a:lnTo>
                  <a:pt x="563" y="912"/>
                </a:lnTo>
                <a:lnTo>
                  <a:pt x="547" y="901"/>
                </a:lnTo>
                <a:lnTo>
                  <a:pt x="531" y="893"/>
                </a:lnTo>
                <a:lnTo>
                  <a:pt x="516" y="888"/>
                </a:lnTo>
                <a:lnTo>
                  <a:pt x="501" y="885"/>
                </a:lnTo>
                <a:lnTo>
                  <a:pt x="488" y="884"/>
                </a:lnTo>
                <a:lnTo>
                  <a:pt x="474" y="887"/>
                </a:lnTo>
                <a:lnTo>
                  <a:pt x="461" y="889"/>
                </a:lnTo>
                <a:lnTo>
                  <a:pt x="450" y="896"/>
                </a:lnTo>
                <a:lnTo>
                  <a:pt x="439" y="903"/>
                </a:lnTo>
                <a:lnTo>
                  <a:pt x="430" y="913"/>
                </a:lnTo>
                <a:lnTo>
                  <a:pt x="422" y="924"/>
                </a:lnTo>
                <a:lnTo>
                  <a:pt x="414" y="938"/>
                </a:lnTo>
                <a:lnTo>
                  <a:pt x="408" y="952"/>
                </a:lnTo>
                <a:lnTo>
                  <a:pt x="404" y="968"/>
                </a:lnTo>
                <a:lnTo>
                  <a:pt x="403" y="986"/>
                </a:lnTo>
                <a:lnTo>
                  <a:pt x="402" y="1005"/>
                </a:lnTo>
                <a:lnTo>
                  <a:pt x="416" y="2621"/>
                </a:lnTo>
                <a:lnTo>
                  <a:pt x="922" y="2621"/>
                </a:lnTo>
                <a:lnTo>
                  <a:pt x="892" y="2024"/>
                </a:lnTo>
                <a:lnTo>
                  <a:pt x="727" y="2024"/>
                </a:lnTo>
                <a:lnTo>
                  <a:pt x="707" y="2023"/>
                </a:lnTo>
                <a:lnTo>
                  <a:pt x="689" y="2022"/>
                </a:lnTo>
                <a:lnTo>
                  <a:pt x="672" y="2019"/>
                </a:lnTo>
                <a:lnTo>
                  <a:pt x="654" y="2015"/>
                </a:lnTo>
                <a:lnTo>
                  <a:pt x="638" y="2009"/>
                </a:lnTo>
                <a:lnTo>
                  <a:pt x="623" y="2001"/>
                </a:lnTo>
                <a:lnTo>
                  <a:pt x="610" y="1993"/>
                </a:lnTo>
                <a:lnTo>
                  <a:pt x="596" y="1984"/>
                </a:lnTo>
                <a:lnTo>
                  <a:pt x="584" y="1973"/>
                </a:lnTo>
                <a:lnTo>
                  <a:pt x="574" y="1961"/>
                </a:lnTo>
                <a:lnTo>
                  <a:pt x="564" y="1948"/>
                </a:lnTo>
                <a:lnTo>
                  <a:pt x="555" y="1934"/>
                </a:lnTo>
                <a:lnTo>
                  <a:pt x="548" y="1917"/>
                </a:lnTo>
                <a:lnTo>
                  <a:pt x="543" y="1899"/>
                </a:lnTo>
                <a:lnTo>
                  <a:pt x="537" y="1880"/>
                </a:lnTo>
                <a:lnTo>
                  <a:pt x="535" y="1860"/>
                </a:lnTo>
                <a:lnTo>
                  <a:pt x="478" y="1338"/>
                </a:lnTo>
                <a:lnTo>
                  <a:pt x="532" y="1331"/>
                </a:lnTo>
                <a:lnTo>
                  <a:pt x="588" y="1855"/>
                </a:lnTo>
                <a:lnTo>
                  <a:pt x="591" y="1870"/>
                </a:lnTo>
                <a:lnTo>
                  <a:pt x="594" y="1883"/>
                </a:lnTo>
                <a:lnTo>
                  <a:pt x="598" y="1895"/>
                </a:lnTo>
                <a:lnTo>
                  <a:pt x="602" y="1907"/>
                </a:lnTo>
                <a:lnTo>
                  <a:pt x="609" y="1917"/>
                </a:lnTo>
                <a:lnTo>
                  <a:pt x="614" y="1926"/>
                </a:lnTo>
                <a:lnTo>
                  <a:pt x="622" y="1936"/>
                </a:lnTo>
                <a:lnTo>
                  <a:pt x="630" y="1942"/>
                </a:lnTo>
                <a:lnTo>
                  <a:pt x="639" y="1949"/>
                </a:lnTo>
                <a:lnTo>
                  <a:pt x="649" y="1954"/>
                </a:lnTo>
                <a:lnTo>
                  <a:pt x="660" y="1960"/>
                </a:lnTo>
                <a:lnTo>
                  <a:pt x="672" y="1964"/>
                </a:lnTo>
                <a:lnTo>
                  <a:pt x="684" y="1966"/>
                </a:lnTo>
                <a:lnTo>
                  <a:pt x="697" y="1969"/>
                </a:lnTo>
                <a:lnTo>
                  <a:pt x="712" y="1970"/>
                </a:lnTo>
                <a:lnTo>
                  <a:pt x="727" y="1970"/>
                </a:lnTo>
                <a:lnTo>
                  <a:pt x="1356" y="1970"/>
                </a:lnTo>
                <a:close/>
                <a:moveTo>
                  <a:pt x="977" y="1586"/>
                </a:moveTo>
                <a:lnTo>
                  <a:pt x="1409" y="1586"/>
                </a:lnTo>
                <a:lnTo>
                  <a:pt x="1409" y="2024"/>
                </a:lnTo>
                <a:lnTo>
                  <a:pt x="998" y="2024"/>
                </a:lnTo>
                <a:lnTo>
                  <a:pt x="1030" y="2678"/>
                </a:lnTo>
                <a:lnTo>
                  <a:pt x="893" y="4763"/>
                </a:lnTo>
                <a:lnTo>
                  <a:pt x="786" y="4763"/>
                </a:lnTo>
                <a:lnTo>
                  <a:pt x="923" y="2674"/>
                </a:lnTo>
                <a:lnTo>
                  <a:pt x="416" y="2674"/>
                </a:lnTo>
                <a:lnTo>
                  <a:pt x="435" y="4763"/>
                </a:lnTo>
                <a:lnTo>
                  <a:pt x="328" y="4763"/>
                </a:lnTo>
                <a:lnTo>
                  <a:pt x="318" y="3678"/>
                </a:lnTo>
                <a:lnTo>
                  <a:pt x="0" y="3678"/>
                </a:lnTo>
                <a:lnTo>
                  <a:pt x="0" y="2621"/>
                </a:lnTo>
                <a:lnTo>
                  <a:pt x="309" y="2621"/>
                </a:lnTo>
                <a:lnTo>
                  <a:pt x="294" y="1006"/>
                </a:lnTo>
                <a:lnTo>
                  <a:pt x="294" y="991"/>
                </a:lnTo>
                <a:lnTo>
                  <a:pt x="296" y="977"/>
                </a:lnTo>
                <a:lnTo>
                  <a:pt x="298" y="962"/>
                </a:lnTo>
                <a:lnTo>
                  <a:pt x="301" y="947"/>
                </a:lnTo>
                <a:lnTo>
                  <a:pt x="304" y="934"/>
                </a:lnTo>
                <a:lnTo>
                  <a:pt x="309" y="919"/>
                </a:lnTo>
                <a:lnTo>
                  <a:pt x="314" y="905"/>
                </a:lnTo>
                <a:lnTo>
                  <a:pt x="320" y="892"/>
                </a:lnTo>
                <a:lnTo>
                  <a:pt x="326" y="878"/>
                </a:lnTo>
                <a:lnTo>
                  <a:pt x="333" y="866"/>
                </a:lnTo>
                <a:lnTo>
                  <a:pt x="341" y="854"/>
                </a:lnTo>
                <a:lnTo>
                  <a:pt x="351" y="844"/>
                </a:lnTo>
                <a:lnTo>
                  <a:pt x="359" y="833"/>
                </a:lnTo>
                <a:lnTo>
                  <a:pt x="369" y="822"/>
                </a:lnTo>
                <a:lnTo>
                  <a:pt x="380" y="814"/>
                </a:lnTo>
                <a:lnTo>
                  <a:pt x="391" y="805"/>
                </a:lnTo>
                <a:lnTo>
                  <a:pt x="402" y="798"/>
                </a:lnTo>
                <a:lnTo>
                  <a:pt x="414" y="791"/>
                </a:lnTo>
                <a:lnTo>
                  <a:pt x="426" y="786"/>
                </a:lnTo>
                <a:lnTo>
                  <a:pt x="439" y="780"/>
                </a:lnTo>
                <a:lnTo>
                  <a:pt x="453" y="778"/>
                </a:lnTo>
                <a:lnTo>
                  <a:pt x="466" y="775"/>
                </a:lnTo>
                <a:lnTo>
                  <a:pt x="481" y="774"/>
                </a:lnTo>
                <a:lnTo>
                  <a:pt x="496" y="774"/>
                </a:lnTo>
                <a:lnTo>
                  <a:pt x="510" y="775"/>
                </a:lnTo>
                <a:lnTo>
                  <a:pt x="527" y="778"/>
                </a:lnTo>
                <a:lnTo>
                  <a:pt x="541" y="782"/>
                </a:lnTo>
                <a:lnTo>
                  <a:pt x="558" y="787"/>
                </a:lnTo>
                <a:lnTo>
                  <a:pt x="574" y="794"/>
                </a:lnTo>
                <a:lnTo>
                  <a:pt x="590" y="802"/>
                </a:lnTo>
                <a:lnTo>
                  <a:pt x="607" y="813"/>
                </a:lnTo>
                <a:lnTo>
                  <a:pt x="623" y="823"/>
                </a:lnTo>
                <a:lnTo>
                  <a:pt x="809" y="960"/>
                </a:lnTo>
                <a:lnTo>
                  <a:pt x="829" y="977"/>
                </a:lnTo>
                <a:lnTo>
                  <a:pt x="848" y="993"/>
                </a:lnTo>
                <a:lnTo>
                  <a:pt x="865" y="1010"/>
                </a:lnTo>
                <a:lnTo>
                  <a:pt x="881" y="1029"/>
                </a:lnTo>
                <a:lnTo>
                  <a:pt x="895" y="1048"/>
                </a:lnTo>
                <a:lnTo>
                  <a:pt x="907" y="1069"/>
                </a:lnTo>
                <a:lnTo>
                  <a:pt x="918" y="1091"/>
                </a:lnTo>
                <a:lnTo>
                  <a:pt x="927" y="1114"/>
                </a:lnTo>
                <a:lnTo>
                  <a:pt x="935" y="1139"/>
                </a:lnTo>
                <a:lnTo>
                  <a:pt x="942" y="1166"/>
                </a:lnTo>
                <a:lnTo>
                  <a:pt x="948" y="1194"/>
                </a:lnTo>
                <a:lnTo>
                  <a:pt x="954" y="1226"/>
                </a:lnTo>
                <a:lnTo>
                  <a:pt x="958" y="1259"/>
                </a:lnTo>
                <a:lnTo>
                  <a:pt x="962" y="1295"/>
                </a:lnTo>
                <a:lnTo>
                  <a:pt x="967" y="1375"/>
                </a:lnTo>
                <a:lnTo>
                  <a:pt x="977" y="1586"/>
                </a:lnTo>
                <a:close/>
                <a:moveTo>
                  <a:pt x="310" y="2728"/>
                </a:moveTo>
                <a:lnTo>
                  <a:pt x="107" y="2728"/>
                </a:lnTo>
                <a:lnTo>
                  <a:pt x="107" y="3570"/>
                </a:lnTo>
                <a:lnTo>
                  <a:pt x="317" y="3570"/>
                </a:lnTo>
                <a:lnTo>
                  <a:pt x="310" y="2728"/>
                </a:lnTo>
                <a:close/>
                <a:moveTo>
                  <a:pt x="1185" y="1875"/>
                </a:moveTo>
                <a:lnTo>
                  <a:pt x="1185" y="1875"/>
                </a:lnTo>
                <a:lnTo>
                  <a:pt x="1185" y="1867"/>
                </a:lnTo>
                <a:lnTo>
                  <a:pt x="1188" y="1859"/>
                </a:lnTo>
                <a:lnTo>
                  <a:pt x="1192" y="1852"/>
                </a:lnTo>
                <a:lnTo>
                  <a:pt x="1196" y="1847"/>
                </a:lnTo>
                <a:lnTo>
                  <a:pt x="1202" y="1842"/>
                </a:lnTo>
                <a:lnTo>
                  <a:pt x="1209" y="1838"/>
                </a:lnTo>
                <a:lnTo>
                  <a:pt x="1217" y="1835"/>
                </a:lnTo>
                <a:lnTo>
                  <a:pt x="1225" y="1835"/>
                </a:lnTo>
                <a:lnTo>
                  <a:pt x="1233" y="1835"/>
                </a:lnTo>
                <a:lnTo>
                  <a:pt x="1240" y="1838"/>
                </a:lnTo>
                <a:lnTo>
                  <a:pt x="1247" y="1842"/>
                </a:lnTo>
                <a:lnTo>
                  <a:pt x="1253" y="1847"/>
                </a:lnTo>
                <a:lnTo>
                  <a:pt x="1259" y="1852"/>
                </a:lnTo>
                <a:lnTo>
                  <a:pt x="1261" y="1859"/>
                </a:lnTo>
                <a:lnTo>
                  <a:pt x="1264" y="1867"/>
                </a:lnTo>
                <a:lnTo>
                  <a:pt x="1265" y="1875"/>
                </a:lnTo>
                <a:lnTo>
                  <a:pt x="1264" y="1883"/>
                </a:lnTo>
                <a:lnTo>
                  <a:pt x="1261" y="1891"/>
                </a:lnTo>
                <a:lnTo>
                  <a:pt x="1259" y="1898"/>
                </a:lnTo>
                <a:lnTo>
                  <a:pt x="1253" y="1903"/>
                </a:lnTo>
                <a:lnTo>
                  <a:pt x="1247" y="1909"/>
                </a:lnTo>
                <a:lnTo>
                  <a:pt x="1240" y="1911"/>
                </a:lnTo>
                <a:lnTo>
                  <a:pt x="1233" y="1914"/>
                </a:lnTo>
                <a:lnTo>
                  <a:pt x="1225" y="1915"/>
                </a:lnTo>
                <a:lnTo>
                  <a:pt x="1217" y="1914"/>
                </a:lnTo>
                <a:lnTo>
                  <a:pt x="1209" y="1911"/>
                </a:lnTo>
                <a:lnTo>
                  <a:pt x="1202" y="1909"/>
                </a:lnTo>
                <a:lnTo>
                  <a:pt x="1196" y="1903"/>
                </a:lnTo>
                <a:lnTo>
                  <a:pt x="1192" y="1898"/>
                </a:lnTo>
                <a:lnTo>
                  <a:pt x="1188" y="1891"/>
                </a:lnTo>
                <a:lnTo>
                  <a:pt x="1185" y="1883"/>
                </a:lnTo>
                <a:lnTo>
                  <a:pt x="1185" y="1875"/>
                </a:lnTo>
                <a:close/>
                <a:moveTo>
                  <a:pt x="1141" y="2728"/>
                </a:moveTo>
                <a:lnTo>
                  <a:pt x="1142" y="2621"/>
                </a:lnTo>
                <a:lnTo>
                  <a:pt x="1397" y="2621"/>
                </a:lnTo>
                <a:lnTo>
                  <a:pt x="1397" y="3678"/>
                </a:lnTo>
                <a:lnTo>
                  <a:pt x="1076" y="3678"/>
                </a:lnTo>
                <a:lnTo>
                  <a:pt x="1083" y="3570"/>
                </a:lnTo>
                <a:lnTo>
                  <a:pt x="1290" y="3570"/>
                </a:lnTo>
                <a:lnTo>
                  <a:pt x="1290" y="2728"/>
                </a:lnTo>
                <a:lnTo>
                  <a:pt x="1141" y="2728"/>
                </a:lnTo>
                <a:close/>
                <a:moveTo>
                  <a:pt x="1463" y="1880"/>
                </a:moveTo>
                <a:lnTo>
                  <a:pt x="1651" y="1956"/>
                </a:lnTo>
                <a:lnTo>
                  <a:pt x="1677" y="1965"/>
                </a:lnTo>
                <a:lnTo>
                  <a:pt x="1699" y="1972"/>
                </a:lnTo>
                <a:lnTo>
                  <a:pt x="1721" y="1976"/>
                </a:lnTo>
                <a:lnTo>
                  <a:pt x="1741" y="1977"/>
                </a:lnTo>
                <a:lnTo>
                  <a:pt x="1763" y="1976"/>
                </a:lnTo>
                <a:lnTo>
                  <a:pt x="1784" y="1972"/>
                </a:lnTo>
                <a:lnTo>
                  <a:pt x="1807" y="1965"/>
                </a:lnTo>
                <a:lnTo>
                  <a:pt x="1832" y="1956"/>
                </a:lnTo>
                <a:lnTo>
                  <a:pt x="2010" y="1890"/>
                </a:lnTo>
                <a:lnTo>
                  <a:pt x="2010" y="1950"/>
                </a:lnTo>
                <a:lnTo>
                  <a:pt x="1977" y="1961"/>
                </a:lnTo>
                <a:lnTo>
                  <a:pt x="1937" y="1975"/>
                </a:lnTo>
                <a:lnTo>
                  <a:pt x="1887" y="1992"/>
                </a:lnTo>
                <a:lnTo>
                  <a:pt x="1830" y="2015"/>
                </a:lnTo>
                <a:lnTo>
                  <a:pt x="1811" y="2022"/>
                </a:lnTo>
                <a:lnTo>
                  <a:pt x="1791" y="2027"/>
                </a:lnTo>
                <a:lnTo>
                  <a:pt x="1771" y="2030"/>
                </a:lnTo>
                <a:lnTo>
                  <a:pt x="1750" y="2032"/>
                </a:lnTo>
                <a:lnTo>
                  <a:pt x="1729" y="2031"/>
                </a:lnTo>
                <a:lnTo>
                  <a:pt x="1709" y="2030"/>
                </a:lnTo>
                <a:lnTo>
                  <a:pt x="1687" y="2024"/>
                </a:lnTo>
                <a:lnTo>
                  <a:pt x="1667" y="2017"/>
                </a:lnTo>
                <a:lnTo>
                  <a:pt x="1463" y="1938"/>
                </a:lnTo>
                <a:lnTo>
                  <a:pt x="1463" y="1880"/>
                </a:lnTo>
                <a:close/>
                <a:moveTo>
                  <a:pt x="2010" y="1647"/>
                </a:moveTo>
                <a:lnTo>
                  <a:pt x="1815" y="1613"/>
                </a:lnTo>
                <a:lnTo>
                  <a:pt x="1681" y="1639"/>
                </a:lnTo>
                <a:lnTo>
                  <a:pt x="1611" y="1723"/>
                </a:lnTo>
                <a:lnTo>
                  <a:pt x="1643" y="1741"/>
                </a:lnTo>
                <a:lnTo>
                  <a:pt x="1787" y="1695"/>
                </a:lnTo>
                <a:lnTo>
                  <a:pt x="1882" y="1781"/>
                </a:lnTo>
                <a:lnTo>
                  <a:pt x="1846" y="1821"/>
                </a:lnTo>
                <a:lnTo>
                  <a:pt x="1773" y="1756"/>
                </a:lnTo>
                <a:lnTo>
                  <a:pt x="1638" y="1799"/>
                </a:lnTo>
                <a:lnTo>
                  <a:pt x="1527" y="1741"/>
                </a:lnTo>
                <a:lnTo>
                  <a:pt x="1609" y="1640"/>
                </a:lnTo>
                <a:lnTo>
                  <a:pt x="1463" y="1640"/>
                </a:lnTo>
                <a:lnTo>
                  <a:pt x="1463" y="1586"/>
                </a:lnTo>
                <a:lnTo>
                  <a:pt x="1663" y="1586"/>
                </a:lnTo>
                <a:lnTo>
                  <a:pt x="1815" y="1559"/>
                </a:lnTo>
                <a:lnTo>
                  <a:pt x="2010" y="1592"/>
                </a:lnTo>
                <a:lnTo>
                  <a:pt x="2010" y="1647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911811" y="6033687"/>
            <a:ext cx="1683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Новый кредит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93047" y="5973349"/>
            <a:ext cx="27070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Транш в рамках </a:t>
            </a:r>
            <a:br>
              <a:rPr lang="ru-RU" dirty="0">
                <a:solidFill>
                  <a:srgbClr val="14AA96"/>
                </a:solidFill>
              </a:rPr>
            </a:br>
            <a:r>
              <a:rPr lang="ru-RU" dirty="0">
                <a:solidFill>
                  <a:srgbClr val="14AA96"/>
                </a:solidFill>
              </a:rPr>
              <a:t>заключенного договор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34525" y="6014484"/>
            <a:ext cx="2611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Внутригрупповой заем</a:t>
            </a:r>
          </a:p>
        </p:txBody>
      </p:sp>
      <p:cxnSp>
        <p:nvCxnSpPr>
          <p:cNvPr id="15" name="Прямая со стрелкой 14"/>
          <p:cNvCxnSpPr/>
          <p:nvPr/>
        </p:nvCxnSpPr>
        <p:spPr bwMode="auto">
          <a:xfrm flipV="1">
            <a:off x="2640403" y="3357769"/>
            <a:ext cx="1656567" cy="1296444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14AA96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 стрелкой 16"/>
          <p:cNvCxnSpPr/>
          <p:nvPr/>
        </p:nvCxnSpPr>
        <p:spPr bwMode="auto">
          <a:xfrm flipH="1" flipV="1">
            <a:off x="7610105" y="3357769"/>
            <a:ext cx="1864255" cy="1296444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14AA96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 стрелкой 19"/>
          <p:cNvCxnSpPr/>
          <p:nvPr/>
        </p:nvCxnSpPr>
        <p:spPr bwMode="auto">
          <a:xfrm flipH="1" flipV="1">
            <a:off x="5945898" y="3450353"/>
            <a:ext cx="15280" cy="933566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14AA96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/>
          <p:nvPr/>
        </p:nvSpPr>
        <p:spPr>
          <a:xfrm>
            <a:off x="2741357" y="3442571"/>
            <a:ext cx="608000" cy="923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1" b="1" dirty="0">
                <a:solidFill>
                  <a:srgbClr val="14AA96"/>
                </a:solidFill>
              </a:rPr>
              <a:t>?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99310" y="3442571"/>
            <a:ext cx="608000" cy="923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1" b="1" dirty="0">
                <a:solidFill>
                  <a:srgbClr val="14AA96"/>
                </a:solidFill>
              </a:rPr>
              <a:t>?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170085" y="3442571"/>
            <a:ext cx="608000" cy="923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1" b="1" dirty="0">
                <a:solidFill>
                  <a:srgbClr val="14AA96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9103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7066" y="152436"/>
            <a:ext cx="7225681" cy="1081338"/>
          </a:xfrm>
        </p:spPr>
        <p:txBody>
          <a:bodyPr/>
          <a:lstStyle/>
          <a:p>
            <a:r>
              <a:rPr lang="ru-RU" dirty="0" smtClean="0"/>
              <a:t>Процесс планирования привлечения финансирова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18</a:t>
            </a:fld>
            <a:endParaRPr lang="ru-RU" altLang="ru-RU" dirty="0"/>
          </a:p>
        </p:txBody>
      </p:sp>
      <p:sp>
        <p:nvSpPr>
          <p:cNvPr id="8" name="Блок-схема: документ 7"/>
          <p:cNvSpPr/>
          <p:nvPr/>
        </p:nvSpPr>
        <p:spPr>
          <a:xfrm>
            <a:off x="188439" y="1842274"/>
            <a:ext cx="1227545" cy="680407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НПФ1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9" name="Блок-схема: решение 8"/>
          <p:cNvSpPr/>
          <p:nvPr/>
        </p:nvSpPr>
        <p:spPr bwMode="auto">
          <a:xfrm>
            <a:off x="4673421" y="2558228"/>
            <a:ext cx="1969940" cy="1286474"/>
          </a:xfrm>
          <a:prstGeom prst="flowChartDecision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Новый кредит?</a:t>
            </a:r>
          </a:p>
        </p:txBody>
      </p:sp>
      <p:sp>
        <p:nvSpPr>
          <p:cNvPr id="10" name="Блок-схема: документ 9"/>
          <p:cNvSpPr/>
          <p:nvPr/>
        </p:nvSpPr>
        <p:spPr>
          <a:xfrm>
            <a:off x="9823697" y="2558229"/>
            <a:ext cx="1891814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окрытие потребности в финансировании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1" name="Блок-схема: документ 10"/>
          <p:cNvSpPr/>
          <p:nvPr/>
        </p:nvSpPr>
        <p:spPr>
          <a:xfrm>
            <a:off x="7500903" y="2558229"/>
            <a:ext cx="1465252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акупочная </a:t>
            </a:r>
            <a:r>
              <a:rPr lang="ru-RU" sz="1600" dirty="0">
                <a:solidFill>
                  <a:srgbClr val="808080"/>
                </a:solidFill>
              </a:rPr>
              <a:t>процедура</a:t>
            </a:r>
            <a:endParaRPr lang="ru-RU" sz="1600" dirty="0">
              <a:solidFill>
                <a:srgbClr val="808080"/>
              </a:solidFill>
            </a:endParaRPr>
          </a:p>
        </p:txBody>
      </p:sp>
      <p:cxnSp>
        <p:nvCxnSpPr>
          <p:cNvPr id="13" name="Прямая со стрелкой 12"/>
          <p:cNvCxnSpPr>
            <a:stCxn id="23" idx="3"/>
            <a:endCxn id="9" idx="1"/>
          </p:cNvCxnSpPr>
          <p:nvPr/>
        </p:nvCxnSpPr>
        <p:spPr bwMode="auto">
          <a:xfrm flipV="1">
            <a:off x="3815881" y="3201466"/>
            <a:ext cx="857541" cy="1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 стрелкой 13"/>
          <p:cNvCxnSpPr>
            <a:stCxn id="9" idx="3"/>
            <a:endCxn id="11" idx="1"/>
          </p:cNvCxnSpPr>
          <p:nvPr/>
        </p:nvCxnSpPr>
        <p:spPr bwMode="auto">
          <a:xfrm>
            <a:off x="6643362" y="3201466"/>
            <a:ext cx="857541" cy="1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 стрелкой 18"/>
          <p:cNvCxnSpPr>
            <a:stCxn id="11" idx="3"/>
            <a:endCxn id="10" idx="1"/>
          </p:cNvCxnSpPr>
          <p:nvPr/>
        </p:nvCxnSpPr>
        <p:spPr bwMode="auto">
          <a:xfrm>
            <a:off x="8966155" y="3201466"/>
            <a:ext cx="857542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 стрелкой 21"/>
          <p:cNvCxnSpPr>
            <a:stCxn id="9" idx="0"/>
            <a:endCxn id="10" idx="0"/>
          </p:cNvCxnSpPr>
          <p:nvPr/>
        </p:nvCxnSpPr>
        <p:spPr bwMode="auto">
          <a:xfrm rot="5400000" flipH="1" flipV="1">
            <a:off x="8213998" y="2622"/>
            <a:ext cx="12703" cy="5111213"/>
          </a:xfrm>
          <a:prstGeom prst="bentConnector3">
            <a:avLst>
              <a:gd name="adj1" fmla="val 4111110"/>
            </a:avLst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/>
          <p:cNvSpPr txBox="1"/>
          <p:nvPr/>
        </p:nvSpPr>
        <p:spPr>
          <a:xfrm>
            <a:off x="6821845" y="2662121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922570" y="1642172"/>
            <a:ext cx="577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ет</a:t>
            </a:r>
          </a:p>
        </p:txBody>
      </p:sp>
      <p:sp>
        <p:nvSpPr>
          <p:cNvPr id="20" name="Блок-схема: документ 19"/>
          <p:cNvSpPr/>
          <p:nvPr/>
        </p:nvSpPr>
        <p:spPr>
          <a:xfrm>
            <a:off x="188439" y="2861262"/>
            <a:ext cx="1227545" cy="680407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НПФ2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21" name="Блок-схема: документ 20"/>
          <p:cNvSpPr/>
          <p:nvPr/>
        </p:nvSpPr>
        <p:spPr>
          <a:xfrm>
            <a:off x="188439" y="3880249"/>
            <a:ext cx="1227545" cy="680407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НПФ3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273525" y="2558229"/>
            <a:ext cx="1542355" cy="1286475"/>
          </a:xfrm>
          <a:prstGeom prst="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Выбор способов покрытия потребности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35" name="Блок-схема: документ 34"/>
          <p:cNvSpPr/>
          <p:nvPr/>
        </p:nvSpPr>
        <p:spPr>
          <a:xfrm>
            <a:off x="9823697" y="4448109"/>
            <a:ext cx="1891814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Договор кредита / займа</a:t>
            </a:r>
            <a:endParaRPr lang="ru-RU" sz="1600" dirty="0">
              <a:solidFill>
                <a:srgbClr val="808080"/>
              </a:solidFill>
            </a:endParaRPr>
          </a:p>
        </p:txBody>
      </p:sp>
      <p:cxnSp>
        <p:nvCxnSpPr>
          <p:cNvPr id="36" name="Прямая со стрелкой 35"/>
          <p:cNvCxnSpPr>
            <a:stCxn id="10" idx="2"/>
            <a:endCxn id="35" idx="0"/>
          </p:cNvCxnSpPr>
          <p:nvPr/>
        </p:nvCxnSpPr>
        <p:spPr bwMode="auto">
          <a:xfrm>
            <a:off x="10769604" y="3759653"/>
            <a:ext cx="0" cy="688456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 стрелкой 38"/>
          <p:cNvCxnSpPr>
            <a:stCxn id="8" idx="3"/>
            <a:endCxn id="23" idx="0"/>
          </p:cNvCxnSpPr>
          <p:nvPr/>
        </p:nvCxnSpPr>
        <p:spPr bwMode="auto">
          <a:xfrm>
            <a:off x="1415984" y="2182477"/>
            <a:ext cx="1628719" cy="375751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Прямая со стрелкой 38"/>
          <p:cNvCxnSpPr>
            <a:stCxn id="21" idx="3"/>
            <a:endCxn id="23" idx="2"/>
          </p:cNvCxnSpPr>
          <p:nvPr/>
        </p:nvCxnSpPr>
        <p:spPr bwMode="auto">
          <a:xfrm flipV="1">
            <a:off x="1415984" y="3844704"/>
            <a:ext cx="1628719" cy="375750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Прямая со стрелкой 38"/>
          <p:cNvCxnSpPr>
            <a:stCxn id="20" idx="3"/>
            <a:endCxn id="23" idx="1"/>
          </p:cNvCxnSpPr>
          <p:nvPr/>
        </p:nvCxnSpPr>
        <p:spPr bwMode="auto">
          <a:xfrm>
            <a:off x="1415984" y="3201466"/>
            <a:ext cx="857541" cy="1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6056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бор заявок на привлечение финансирования</a:t>
            </a:r>
            <a:endParaRPr lang="ru-RU" dirty="0"/>
          </a:p>
        </p:txBody>
      </p:sp>
      <p:sp>
        <p:nvSpPr>
          <p:cNvPr id="15" name="Объект 14"/>
          <p:cNvSpPr>
            <a:spLocks noGrp="1"/>
          </p:cNvSpPr>
          <p:nvPr>
            <p:ph sz="half" idx="2"/>
          </p:nvPr>
        </p:nvSpPr>
        <p:spPr>
          <a:xfrm>
            <a:off x="7249982" y="2421796"/>
            <a:ext cx="4801050" cy="4680884"/>
          </a:xfrm>
        </p:spPr>
        <p:txBody>
          <a:bodyPr/>
          <a:lstStyle/>
          <a:p>
            <a:r>
              <a:rPr lang="ru-RU" sz="1800" dirty="0"/>
              <a:t>На входе – требуемая сумма и </a:t>
            </a:r>
            <a:r>
              <a:rPr lang="ru-RU" sz="1800" dirty="0"/>
              <a:t>срок</a:t>
            </a:r>
            <a:endParaRPr lang="en-US" sz="1800" dirty="0"/>
          </a:p>
          <a:p>
            <a:r>
              <a:rPr lang="ru-RU" sz="1800" dirty="0"/>
              <a:t>Предварительная оценка процентных расходов</a:t>
            </a:r>
          </a:p>
          <a:p>
            <a:r>
              <a:rPr lang="ru-RU" sz="1800" dirty="0"/>
              <a:t>Контроль лимитов БДДС</a:t>
            </a: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19</a:t>
            </a:fld>
            <a:endParaRPr lang="ru-RU" alt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589" y="1773226"/>
            <a:ext cx="6818459" cy="27461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6836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раллельное развитие функциональности казначейств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0963" y="2044796"/>
            <a:ext cx="1872208" cy="64807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1С:УПП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665540" y="1413570"/>
            <a:ext cx="2016225" cy="64807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1С:</a:t>
            </a:r>
            <a:r>
              <a:rPr lang="en-US" sz="2000" dirty="0"/>
              <a:t>ERP</a:t>
            </a:r>
            <a:endParaRPr lang="ru-RU" sz="20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001243" y="2709714"/>
            <a:ext cx="2016225" cy="64807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1С: Консолидац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665539" y="2709714"/>
            <a:ext cx="2016225" cy="64807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1С: УХ</a:t>
            </a:r>
          </a:p>
        </p:txBody>
      </p:sp>
      <p:cxnSp>
        <p:nvCxnSpPr>
          <p:cNvPr id="11" name="Прямая со стрелкой 10"/>
          <p:cNvCxnSpPr>
            <a:cxnSpLocks/>
            <a:stCxn id="4" idx="3"/>
            <a:endCxn id="5" idx="1"/>
          </p:cNvCxnSpPr>
          <p:nvPr/>
        </p:nvCxnSpPr>
        <p:spPr>
          <a:xfrm flipV="1">
            <a:off x="2353171" y="1737606"/>
            <a:ext cx="3312369" cy="631226"/>
          </a:xfrm>
          <a:prstGeom prst="bentConnector3">
            <a:avLst>
              <a:gd name="adj1" fmla="val 50000"/>
            </a:avLst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cxnSpLocks/>
            <a:stCxn id="4" idx="3"/>
            <a:endCxn id="6" idx="1"/>
          </p:cNvCxnSpPr>
          <p:nvPr/>
        </p:nvCxnSpPr>
        <p:spPr>
          <a:xfrm>
            <a:off x="2353171" y="2368832"/>
            <a:ext cx="648072" cy="664918"/>
          </a:xfrm>
          <a:prstGeom prst="bentConnector3">
            <a:avLst>
              <a:gd name="adj1" fmla="val 50000"/>
            </a:avLst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cxnSpLocks/>
            <a:stCxn id="6" idx="3"/>
            <a:endCxn id="7" idx="1"/>
          </p:cNvCxnSpPr>
          <p:nvPr/>
        </p:nvCxnSpPr>
        <p:spPr>
          <a:xfrm>
            <a:off x="5017468" y="3033750"/>
            <a:ext cx="648071" cy="0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8185819" y="2044796"/>
            <a:ext cx="2016225" cy="648072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1С:</a:t>
            </a:r>
            <a:r>
              <a:rPr lang="en-US" sz="2000" dirty="0"/>
              <a:t>ERP</a:t>
            </a:r>
            <a:r>
              <a:rPr lang="ru-RU" sz="2000" dirty="0"/>
              <a:t>.УХ</a:t>
            </a:r>
          </a:p>
        </p:txBody>
      </p:sp>
      <p:cxnSp>
        <p:nvCxnSpPr>
          <p:cNvPr id="17" name="Прямая со стрелкой 10"/>
          <p:cNvCxnSpPr>
            <a:cxnSpLocks/>
            <a:stCxn id="5" idx="3"/>
            <a:endCxn id="12" idx="0"/>
          </p:cNvCxnSpPr>
          <p:nvPr/>
        </p:nvCxnSpPr>
        <p:spPr>
          <a:xfrm>
            <a:off x="7681765" y="1737606"/>
            <a:ext cx="1512167" cy="307190"/>
          </a:xfrm>
          <a:prstGeom prst="bentConnector2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0"/>
          <p:cNvCxnSpPr>
            <a:cxnSpLocks/>
            <a:stCxn id="7" idx="3"/>
            <a:endCxn id="12" idx="2"/>
          </p:cNvCxnSpPr>
          <p:nvPr/>
        </p:nvCxnSpPr>
        <p:spPr>
          <a:xfrm flipV="1">
            <a:off x="7681764" y="2692868"/>
            <a:ext cx="1512168" cy="340882"/>
          </a:xfrm>
          <a:prstGeom prst="bentConnector2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Объект 7"/>
          <p:cNvGraphicFramePr>
            <a:graphicFrameLocks noGrp="1"/>
          </p:cNvGraphicFramePr>
          <p:nvPr>
            <p:ph idx="1"/>
          </p:nvPr>
        </p:nvGraphicFramePr>
        <p:xfrm>
          <a:off x="624979" y="3645818"/>
          <a:ext cx="10982711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7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10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39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С:</a:t>
                      </a:r>
                      <a:r>
                        <a:rPr lang="en-US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ERP </a:t>
                      </a:r>
                      <a:r>
                        <a:rPr lang="ru-RU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Управление предприятием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С:</a:t>
                      </a:r>
                      <a:r>
                        <a:rPr lang="ru-RU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Управление холдингом</a:t>
                      </a:r>
                      <a:br>
                        <a:rPr lang="ru-RU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</a:br>
                      <a:r>
                        <a:rPr lang="ru-RU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С:</a:t>
                      </a:r>
                      <a:r>
                        <a:rPr lang="en-US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RP</a:t>
                      </a:r>
                      <a:r>
                        <a:rPr lang="ru-RU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.Управление холдингом</a:t>
                      </a:r>
                      <a:endParaRPr lang="ru-RU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Количество</a:t>
                      </a:r>
                      <a:r>
                        <a:rPr lang="ru-RU" baseline="0" dirty="0">
                          <a:solidFill>
                            <a:srgbClr val="808080"/>
                          </a:solidFill>
                        </a:rPr>
                        <a:t> организаций, банковских счетов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Сравнительно небольшое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Сравнительно</a:t>
                      </a:r>
                      <a:r>
                        <a:rPr lang="ru-RU" baseline="0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большое</a:t>
                      </a:r>
                      <a:endParaRPr lang="ru-RU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3918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тепень</a:t>
                      </a:r>
                      <a:r>
                        <a:rPr lang="ru-RU" baseline="0" dirty="0">
                          <a:solidFill>
                            <a:srgbClr val="808080"/>
                          </a:solidFill>
                        </a:rPr>
                        <a:t> централизации казначейских процессов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Децентрализованные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Централизованные и децентрализованные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Количество участников казначейского процесса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Небольшое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Большое (требуется «фабрика платежей»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пектр используемых финансовых инструментов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Базовый (кредиты, займы, депозиты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Широкий (ценные бумаги, деривативы, документарные операции)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38603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бор способов покрытия потребности </a:t>
            </a:r>
            <a:br>
              <a:rPr lang="ru-RU" dirty="0" smtClean="0"/>
            </a:br>
            <a:r>
              <a:rPr lang="ru-RU" dirty="0" smtClean="0"/>
              <a:t>в финансировании</a:t>
            </a:r>
            <a:endParaRPr lang="ru-RU" dirty="0"/>
          </a:p>
        </p:txBody>
      </p:sp>
      <p:pic>
        <p:nvPicPr>
          <p:cNvPr id="12" name="Объект 11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9539" y="1557153"/>
            <a:ext cx="7310638" cy="3673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20</a:t>
            </a:fld>
            <a:endParaRPr lang="ru-RU" altLang="ru-RU" dirty="0"/>
          </a:p>
        </p:txBody>
      </p:sp>
      <p:sp>
        <p:nvSpPr>
          <p:cNvPr id="13" name="Объект 14"/>
          <p:cNvSpPr txBox="1">
            <a:spLocks/>
          </p:cNvSpPr>
          <p:nvPr/>
        </p:nvSpPr>
        <p:spPr>
          <a:xfrm>
            <a:off x="7682130" y="1557153"/>
            <a:ext cx="4335027" cy="468088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FC6E51"/>
              </a:buClr>
              <a:buSzPct val="60000"/>
              <a:buFont typeface="Wingdings" panose="05000000000000000000" pitchFamily="2" charset="2"/>
              <a:buChar char="§"/>
              <a:defRPr sz="2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FC6E51"/>
              </a:buClr>
              <a:buFont typeface="Wingdings" panose="05000000000000000000" pitchFamily="2" charset="2"/>
              <a:buChar char="§"/>
              <a:defRPr sz="2000">
                <a:solidFill>
                  <a:srgbClr val="80808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C6E51"/>
              </a:buClr>
              <a:buSzPct val="80000"/>
              <a:buFont typeface="Wingdings" panose="05000000000000000000" pitchFamily="2" charset="2"/>
              <a:buChar char="§"/>
              <a:defRPr sz="2400">
                <a:solidFill>
                  <a:srgbClr val="80808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C6E51"/>
              </a:buClr>
              <a:buFont typeface="Wingdings" panose="05000000000000000000" pitchFamily="2" charset="2"/>
              <a:buChar char="§"/>
              <a:defRPr sz="1600">
                <a:solidFill>
                  <a:srgbClr val="80808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6E51"/>
              </a:buClr>
              <a:buFont typeface="Wingdings" panose="05000000000000000000" pitchFamily="2" charset="2"/>
              <a:buChar char="§"/>
              <a:defRPr sz="1400">
                <a:solidFill>
                  <a:srgbClr val="80808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r>
              <a:rPr lang="ru-RU" sz="1800" kern="0" dirty="0"/>
              <a:t>Выбор доступных источников финансирования</a:t>
            </a:r>
          </a:p>
          <a:p>
            <a:r>
              <a:rPr lang="ru-RU" sz="1800" kern="0" dirty="0"/>
              <a:t>Консолидация заявок</a:t>
            </a:r>
          </a:p>
          <a:p>
            <a:r>
              <a:rPr lang="ru-RU" sz="1800" kern="0" dirty="0"/>
              <a:t>Возможность изменить желаемый вид финансирования</a:t>
            </a:r>
            <a:endParaRPr lang="ru-RU" sz="1800" kern="0" dirty="0"/>
          </a:p>
        </p:txBody>
      </p:sp>
    </p:spTree>
    <p:extLst>
      <p:ext uri="{BB962C8B-B14F-4D97-AF65-F5344CB8AC3E}">
        <p14:creationId xmlns:p14="http://schemas.microsoft.com/office/powerpoint/2010/main" val="262556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крытие потребности в финансирован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21</a:t>
            </a:fld>
            <a:endParaRPr lang="ru-RU" altLang="ru-RU" dirty="0"/>
          </a:p>
        </p:txBody>
      </p:sp>
      <p:sp>
        <p:nvSpPr>
          <p:cNvPr id="5" name="Блок-схема: документ 4"/>
          <p:cNvSpPr/>
          <p:nvPr/>
        </p:nvSpPr>
        <p:spPr>
          <a:xfrm>
            <a:off x="2928501" y="2981428"/>
            <a:ext cx="1891814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окрытие потребности в финансировании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6" name="Блок-схема: документ 5"/>
          <p:cNvSpPr/>
          <p:nvPr/>
        </p:nvSpPr>
        <p:spPr>
          <a:xfrm>
            <a:off x="5574242" y="2981427"/>
            <a:ext cx="1531690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Договор кредита / займа</a:t>
            </a:r>
            <a:endParaRPr lang="ru-RU" sz="1600" dirty="0">
              <a:solidFill>
                <a:srgbClr val="808080"/>
              </a:solidFill>
            </a:endParaRPr>
          </a:p>
        </p:txBody>
      </p:sp>
      <p:cxnSp>
        <p:nvCxnSpPr>
          <p:cNvPr id="7" name="Прямая со стрелкой 6"/>
          <p:cNvCxnSpPr>
            <a:stCxn id="5" idx="3"/>
            <a:endCxn id="6" idx="1"/>
          </p:cNvCxnSpPr>
          <p:nvPr/>
        </p:nvCxnSpPr>
        <p:spPr bwMode="auto">
          <a:xfrm flipV="1">
            <a:off x="4820316" y="3624665"/>
            <a:ext cx="753926" cy="1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Блок-схема: документ 10"/>
          <p:cNvSpPr/>
          <p:nvPr/>
        </p:nvSpPr>
        <p:spPr>
          <a:xfrm>
            <a:off x="119539" y="1468909"/>
            <a:ext cx="1800617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акупочная </a:t>
            </a:r>
            <a:r>
              <a:rPr lang="ru-RU" sz="1600" dirty="0">
                <a:solidFill>
                  <a:srgbClr val="808080"/>
                </a:solidFill>
              </a:rPr>
              <a:t>процедура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2" name="Блок-схема: документ 11"/>
          <p:cNvSpPr/>
          <p:nvPr/>
        </p:nvSpPr>
        <p:spPr>
          <a:xfrm>
            <a:off x="143100" y="2981427"/>
            <a:ext cx="1800617" cy="1286475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НПФ (транш кредитной линии, займа)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3100" y="4520134"/>
            <a:ext cx="1800617" cy="1286475"/>
          </a:xfrm>
          <a:prstGeom prst="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латежный календарь</a:t>
            </a:r>
            <a:endParaRPr lang="ru-RU" sz="1600" dirty="0">
              <a:solidFill>
                <a:srgbClr val="808080"/>
              </a:solidFill>
            </a:endParaRPr>
          </a:p>
        </p:txBody>
      </p:sp>
      <p:cxnSp>
        <p:nvCxnSpPr>
          <p:cNvPr id="16" name="Прямая со стрелкой 15"/>
          <p:cNvCxnSpPr>
            <a:stCxn id="11" idx="3"/>
            <a:endCxn id="5" idx="0"/>
          </p:cNvCxnSpPr>
          <p:nvPr/>
        </p:nvCxnSpPr>
        <p:spPr bwMode="auto">
          <a:xfrm>
            <a:off x="1920156" y="2112146"/>
            <a:ext cx="1954252" cy="869281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 стрелкой 15"/>
          <p:cNvCxnSpPr>
            <a:stCxn id="12" idx="3"/>
            <a:endCxn id="5" idx="1"/>
          </p:cNvCxnSpPr>
          <p:nvPr/>
        </p:nvCxnSpPr>
        <p:spPr bwMode="auto">
          <a:xfrm>
            <a:off x="1943717" y="3624665"/>
            <a:ext cx="984785" cy="1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 стрелкой 15"/>
          <p:cNvCxnSpPr>
            <a:stCxn id="13" idx="3"/>
            <a:endCxn id="5" idx="2"/>
          </p:cNvCxnSpPr>
          <p:nvPr/>
        </p:nvCxnSpPr>
        <p:spPr bwMode="auto">
          <a:xfrm flipV="1">
            <a:off x="1943717" y="4182852"/>
            <a:ext cx="1930692" cy="980520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Объект 14"/>
          <p:cNvSpPr txBox="1">
            <a:spLocks/>
          </p:cNvSpPr>
          <p:nvPr/>
        </p:nvSpPr>
        <p:spPr>
          <a:xfrm>
            <a:off x="7274075" y="1557153"/>
            <a:ext cx="4743082" cy="468088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FC6E51"/>
              </a:buClr>
              <a:buSzPct val="60000"/>
              <a:buFont typeface="Wingdings" panose="05000000000000000000" pitchFamily="2" charset="2"/>
              <a:buChar char="§"/>
              <a:defRPr sz="2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FC6E51"/>
              </a:buClr>
              <a:buFont typeface="Wingdings" panose="05000000000000000000" pitchFamily="2" charset="2"/>
              <a:buChar char="§"/>
              <a:defRPr sz="2000">
                <a:solidFill>
                  <a:srgbClr val="80808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C6E51"/>
              </a:buClr>
              <a:buSzPct val="80000"/>
              <a:buFont typeface="Wingdings" panose="05000000000000000000" pitchFamily="2" charset="2"/>
              <a:buChar char="§"/>
              <a:defRPr sz="2400">
                <a:solidFill>
                  <a:srgbClr val="80808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C6E51"/>
              </a:buClr>
              <a:buFont typeface="Wingdings" panose="05000000000000000000" pitchFamily="2" charset="2"/>
              <a:buChar char="§"/>
              <a:defRPr sz="1600">
                <a:solidFill>
                  <a:srgbClr val="80808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6E51"/>
              </a:buClr>
              <a:buFont typeface="Wingdings" panose="05000000000000000000" pitchFamily="2" charset="2"/>
              <a:buChar char="§"/>
              <a:defRPr sz="1400">
                <a:solidFill>
                  <a:srgbClr val="808080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r>
              <a:rPr lang="ru-RU" sz="1800" kern="0" dirty="0"/>
              <a:t>Отражает предварительные параметры будущей сделки</a:t>
            </a:r>
          </a:p>
          <a:p>
            <a:r>
              <a:rPr lang="ru-RU" sz="1800" kern="0" dirty="0"/>
              <a:t>Детальный уточненный график</a:t>
            </a:r>
          </a:p>
          <a:p>
            <a:r>
              <a:rPr lang="ru-RU" sz="1800" kern="0" dirty="0"/>
              <a:t>Контроль БДДС</a:t>
            </a:r>
          </a:p>
          <a:p>
            <a:r>
              <a:rPr lang="ru-RU" sz="1800" kern="0" dirty="0"/>
              <a:t>Основание для ввода договора кредита </a:t>
            </a:r>
            <a:r>
              <a:rPr lang="ru-RU" sz="1800" kern="0"/>
              <a:t>или займа</a:t>
            </a:r>
            <a:endParaRPr lang="ru-RU" sz="1800" kern="0" dirty="0"/>
          </a:p>
        </p:txBody>
      </p:sp>
    </p:spTree>
    <p:extLst>
      <p:ext uri="{BB962C8B-B14F-4D97-AF65-F5344CB8AC3E}">
        <p14:creationId xmlns:p14="http://schemas.microsoft.com/office/powerpoint/2010/main" val="2016165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3548" y="3069670"/>
            <a:ext cx="11906889" cy="3528837"/>
          </a:xfrm>
        </p:spPr>
        <p:txBody>
          <a:bodyPr/>
          <a:lstStyle/>
          <a:p>
            <a:r>
              <a:rPr lang="ru-RU" dirty="0"/>
              <a:t>Уточняются операции по основному долгу</a:t>
            </a:r>
          </a:p>
          <a:p>
            <a:r>
              <a:rPr lang="ru-RU" dirty="0"/>
              <a:t>Пересчитываются суммы процентов к уплате / получению</a:t>
            </a:r>
          </a:p>
          <a:p>
            <a:r>
              <a:rPr lang="ru-RU" dirty="0"/>
              <a:t>Создается новая версия договора или обновляется существующая (опционально)</a:t>
            </a:r>
          </a:p>
          <a:p>
            <a:r>
              <a:rPr lang="ru-RU" dirty="0"/>
              <a:t>Упрощается отражение операций досрочного погашения</a:t>
            </a:r>
          </a:p>
          <a:p>
            <a:r>
              <a:rPr lang="ru-RU" dirty="0"/>
              <a:t>Повышается актуальность графиков расчетов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новление графиков финансовых инструментов при загрузке выпи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22</a:t>
            </a:fld>
            <a:endParaRPr lang="ru-RU" altLang="ru-RU" dirty="0"/>
          </a:p>
        </p:txBody>
      </p:sp>
      <p:sp>
        <p:nvSpPr>
          <p:cNvPr id="5" name="Деньги"/>
          <p:cNvSpPr>
            <a:spLocks noChangeAspect="1" noEditPoints="1"/>
          </p:cNvSpPr>
          <p:nvPr/>
        </p:nvSpPr>
        <p:spPr bwMode="auto">
          <a:xfrm>
            <a:off x="601919" y="1343294"/>
            <a:ext cx="1261795" cy="948554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6" name="Банк"/>
          <p:cNvSpPr>
            <a:spLocks noChangeAspect="1" noEditPoints="1"/>
          </p:cNvSpPr>
          <p:nvPr/>
        </p:nvSpPr>
        <p:spPr bwMode="auto">
          <a:xfrm>
            <a:off x="3311376" y="1269054"/>
            <a:ext cx="1035485" cy="1022794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7" name="Freeform 46"/>
          <p:cNvSpPr>
            <a:spLocks noChangeAspect="1" noEditPoints="1"/>
          </p:cNvSpPr>
          <p:nvPr/>
        </p:nvSpPr>
        <p:spPr bwMode="auto">
          <a:xfrm>
            <a:off x="7975078" y="1282808"/>
            <a:ext cx="717192" cy="995285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Выписка"/>
          <p:cNvSpPr>
            <a:spLocks noChangeAspect="1" noEditPoints="1"/>
          </p:cNvSpPr>
          <p:nvPr/>
        </p:nvSpPr>
        <p:spPr bwMode="auto">
          <a:xfrm>
            <a:off x="5794522" y="1346018"/>
            <a:ext cx="732894" cy="945830"/>
          </a:xfrm>
          <a:custGeom>
            <a:avLst/>
            <a:gdLst>
              <a:gd name="T0" fmla="*/ 2147483647 w 3704"/>
              <a:gd name="T1" fmla="*/ 2147483647 h 4763"/>
              <a:gd name="T2" fmla="*/ 2147483647 w 3704"/>
              <a:gd name="T3" fmla="*/ 2147483647 h 4763"/>
              <a:gd name="T4" fmla="*/ 2147483647 w 3704"/>
              <a:gd name="T5" fmla="*/ 2147483647 h 4763"/>
              <a:gd name="T6" fmla="*/ 2147483647 w 3704"/>
              <a:gd name="T7" fmla="*/ 2147483647 h 4763"/>
              <a:gd name="T8" fmla="*/ 2147483647 w 3704"/>
              <a:gd name="T9" fmla="*/ 2147483647 h 4763"/>
              <a:gd name="T10" fmla="*/ 2147483647 w 3704"/>
              <a:gd name="T11" fmla="*/ 2147483647 h 4763"/>
              <a:gd name="T12" fmla="*/ 2147483647 w 3704"/>
              <a:gd name="T13" fmla="*/ 2147483647 h 4763"/>
              <a:gd name="T14" fmla="*/ 2147483647 w 3704"/>
              <a:gd name="T15" fmla="*/ 2147483647 h 4763"/>
              <a:gd name="T16" fmla="*/ 2147483647 w 3704"/>
              <a:gd name="T17" fmla="*/ 2147483647 h 4763"/>
              <a:gd name="T18" fmla="*/ 2147483647 w 3704"/>
              <a:gd name="T19" fmla="*/ 2147483647 h 4763"/>
              <a:gd name="T20" fmla="*/ 2147483647 w 3704"/>
              <a:gd name="T21" fmla="*/ 2147483647 h 4763"/>
              <a:gd name="T22" fmla="*/ 2147483647 w 3704"/>
              <a:gd name="T23" fmla="*/ 2147483647 h 4763"/>
              <a:gd name="T24" fmla="*/ 2147483647 w 3704"/>
              <a:gd name="T25" fmla="*/ 2147483647 h 4763"/>
              <a:gd name="T26" fmla="*/ 2147483647 w 3704"/>
              <a:gd name="T27" fmla="*/ 2147483647 h 4763"/>
              <a:gd name="T28" fmla="*/ 2147483647 w 3704"/>
              <a:gd name="T29" fmla="*/ 2147483647 h 4763"/>
              <a:gd name="T30" fmla="*/ 2147483647 w 3704"/>
              <a:gd name="T31" fmla="*/ 2147483647 h 4763"/>
              <a:gd name="T32" fmla="*/ 2147483647 w 3704"/>
              <a:gd name="T33" fmla="*/ 2147483647 h 4763"/>
              <a:gd name="T34" fmla="*/ 2147483647 w 3704"/>
              <a:gd name="T35" fmla="*/ 2147483647 h 4763"/>
              <a:gd name="T36" fmla="*/ 2147483647 w 3704"/>
              <a:gd name="T37" fmla="*/ 2147483647 h 4763"/>
              <a:gd name="T38" fmla="*/ 2147483647 w 3704"/>
              <a:gd name="T39" fmla="*/ 2147483647 h 4763"/>
              <a:gd name="T40" fmla="*/ 2147483647 w 3704"/>
              <a:gd name="T41" fmla="*/ 2147483647 h 4763"/>
              <a:gd name="T42" fmla="*/ 2147483647 w 3704"/>
              <a:gd name="T43" fmla="*/ 2147483647 h 4763"/>
              <a:gd name="T44" fmla="*/ 2147483647 w 3704"/>
              <a:gd name="T45" fmla="*/ 2147483647 h 4763"/>
              <a:gd name="T46" fmla="*/ 2147483647 w 3704"/>
              <a:gd name="T47" fmla="*/ 2147483647 h 4763"/>
              <a:gd name="T48" fmla="*/ 2147483647 w 3704"/>
              <a:gd name="T49" fmla="*/ 2147483647 h 4763"/>
              <a:gd name="T50" fmla="*/ 2147483647 w 3704"/>
              <a:gd name="T51" fmla="*/ 2147483647 h 4763"/>
              <a:gd name="T52" fmla="*/ 0 w 3704"/>
              <a:gd name="T53" fmla="*/ 2147483647 h 4763"/>
              <a:gd name="T54" fmla="*/ 0 w 3704"/>
              <a:gd name="T55" fmla="*/ 2147483647 h 4763"/>
              <a:gd name="T56" fmla="*/ 2147483647 w 3704"/>
              <a:gd name="T57" fmla="*/ 2147483647 h 4763"/>
              <a:gd name="T58" fmla="*/ 2147483647 w 3704"/>
              <a:gd name="T59" fmla="*/ 2147483647 h 4763"/>
              <a:gd name="T60" fmla="*/ 2147483647 w 3704"/>
              <a:gd name="T61" fmla="*/ 2147483647 h 4763"/>
              <a:gd name="T62" fmla="*/ 2147483647 w 3704"/>
              <a:gd name="T63" fmla="*/ 2147483647 h 4763"/>
              <a:gd name="T64" fmla="*/ 2147483647 w 3704"/>
              <a:gd name="T65" fmla="*/ 2147483647 h 4763"/>
              <a:gd name="T66" fmla="*/ 2147483647 w 3704"/>
              <a:gd name="T67" fmla="*/ 2147483647 h 4763"/>
              <a:gd name="T68" fmla="*/ 2147483647 w 3704"/>
              <a:gd name="T69" fmla="*/ 2147483647 h 4763"/>
              <a:gd name="T70" fmla="*/ 2147483647 w 3704"/>
              <a:gd name="T71" fmla="*/ 2147483647 h 4763"/>
              <a:gd name="T72" fmla="*/ 2147483647 w 3704"/>
              <a:gd name="T73" fmla="*/ 2147483647 h 4763"/>
              <a:gd name="T74" fmla="*/ 2147483647 w 3704"/>
              <a:gd name="T75" fmla="*/ 2147483647 h 4763"/>
              <a:gd name="T76" fmla="*/ 2147483647 w 3704"/>
              <a:gd name="T77" fmla="*/ 2147483647 h 4763"/>
              <a:gd name="T78" fmla="*/ 2147483647 w 3704"/>
              <a:gd name="T79" fmla="*/ 2147483647 h 4763"/>
              <a:gd name="T80" fmla="*/ 2147483647 w 3704"/>
              <a:gd name="T81" fmla="*/ 2147483647 h 4763"/>
              <a:gd name="T82" fmla="*/ 2147483647 w 3704"/>
              <a:gd name="T83" fmla="*/ 2147483647 h 4763"/>
              <a:gd name="T84" fmla="*/ 2147483647 w 3704"/>
              <a:gd name="T85" fmla="*/ 2147483647 h 4763"/>
              <a:gd name="T86" fmla="*/ 2147483647 w 3704"/>
              <a:gd name="T87" fmla="*/ 2147483647 h 4763"/>
              <a:gd name="T88" fmla="*/ 2147483647 w 3704"/>
              <a:gd name="T89" fmla="*/ 2147483647 h 4763"/>
              <a:gd name="T90" fmla="*/ 2147483647 w 3704"/>
              <a:gd name="T91" fmla="*/ 2147483647 h 4763"/>
              <a:gd name="T92" fmla="*/ 2147483647 w 3704"/>
              <a:gd name="T93" fmla="*/ 2147483647 h 4763"/>
              <a:gd name="T94" fmla="*/ 2147483647 w 3704"/>
              <a:gd name="T95" fmla="*/ 2147483647 h 4763"/>
              <a:gd name="T96" fmla="*/ 2147483647 w 3704"/>
              <a:gd name="T97" fmla="*/ 2147483647 h 4763"/>
              <a:gd name="T98" fmla="*/ 2147483647 w 3704"/>
              <a:gd name="T99" fmla="*/ 2147483647 h 4763"/>
              <a:gd name="T100" fmla="*/ 2147483647 w 3704"/>
              <a:gd name="T101" fmla="*/ 0 h 4763"/>
              <a:gd name="T102" fmla="*/ 2147483647 w 3704"/>
              <a:gd name="T103" fmla="*/ 0 h 4763"/>
              <a:gd name="T104" fmla="*/ 2147483647 w 3704"/>
              <a:gd name="T105" fmla="*/ 2147483647 h 4763"/>
              <a:gd name="T106" fmla="*/ 2147483647 w 3704"/>
              <a:gd name="T107" fmla="*/ 2147483647 h 4763"/>
              <a:gd name="T108" fmla="*/ 2147483647 w 3704"/>
              <a:gd name="T109" fmla="*/ 2147483647 h 4763"/>
              <a:gd name="T110" fmla="*/ 2147483647 w 3704"/>
              <a:gd name="T111" fmla="*/ 2147483647 h 4763"/>
              <a:gd name="T112" fmla="*/ 2147483647 w 3704"/>
              <a:gd name="T113" fmla="*/ 2147483647 h 4763"/>
              <a:gd name="T114" fmla="*/ 2147483647 w 3704"/>
              <a:gd name="T115" fmla="*/ 2147483647 h 4763"/>
              <a:gd name="T116" fmla="*/ 2147483647 w 3704"/>
              <a:gd name="T117" fmla="*/ 2147483647 h 4763"/>
              <a:gd name="T118" fmla="*/ 2147483647 w 3704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4"/>
              <a:gd name="T181" fmla="*/ 0 h 4763"/>
              <a:gd name="T182" fmla="*/ 3704 w 3704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4" h="4763">
                <a:moveTo>
                  <a:pt x="577" y="554"/>
                </a:moveTo>
                <a:lnTo>
                  <a:pt x="577" y="337"/>
                </a:lnTo>
                <a:lnTo>
                  <a:pt x="3327" y="337"/>
                </a:lnTo>
                <a:lnTo>
                  <a:pt x="3327" y="4213"/>
                </a:lnTo>
                <a:lnTo>
                  <a:pt x="3074" y="4213"/>
                </a:lnTo>
                <a:lnTo>
                  <a:pt x="3074" y="4115"/>
                </a:lnTo>
                <a:lnTo>
                  <a:pt x="3229" y="4115"/>
                </a:lnTo>
                <a:lnTo>
                  <a:pt x="3229" y="435"/>
                </a:lnTo>
                <a:lnTo>
                  <a:pt x="675" y="435"/>
                </a:lnTo>
                <a:lnTo>
                  <a:pt x="675" y="554"/>
                </a:lnTo>
                <a:lnTo>
                  <a:pt x="577" y="554"/>
                </a:lnTo>
                <a:close/>
                <a:moveTo>
                  <a:pt x="528" y="3793"/>
                </a:moveTo>
                <a:lnTo>
                  <a:pt x="2020" y="3793"/>
                </a:lnTo>
                <a:lnTo>
                  <a:pt x="2020" y="3890"/>
                </a:lnTo>
                <a:lnTo>
                  <a:pt x="528" y="3890"/>
                </a:lnTo>
                <a:lnTo>
                  <a:pt x="528" y="3793"/>
                </a:lnTo>
                <a:close/>
                <a:moveTo>
                  <a:pt x="2685" y="1426"/>
                </a:moveTo>
                <a:lnTo>
                  <a:pt x="2198" y="945"/>
                </a:lnTo>
                <a:lnTo>
                  <a:pt x="2198" y="1426"/>
                </a:lnTo>
                <a:lnTo>
                  <a:pt x="2685" y="1426"/>
                </a:lnTo>
                <a:close/>
                <a:moveTo>
                  <a:pt x="195" y="849"/>
                </a:moveTo>
                <a:lnTo>
                  <a:pt x="195" y="4568"/>
                </a:lnTo>
                <a:lnTo>
                  <a:pt x="2768" y="4568"/>
                </a:lnTo>
                <a:lnTo>
                  <a:pt x="2769" y="1718"/>
                </a:lnTo>
                <a:lnTo>
                  <a:pt x="2964" y="1718"/>
                </a:lnTo>
                <a:lnTo>
                  <a:pt x="2962" y="4763"/>
                </a:lnTo>
                <a:lnTo>
                  <a:pt x="0" y="4763"/>
                </a:lnTo>
                <a:lnTo>
                  <a:pt x="0" y="654"/>
                </a:lnTo>
                <a:lnTo>
                  <a:pt x="2190" y="654"/>
                </a:lnTo>
                <a:lnTo>
                  <a:pt x="2965" y="1428"/>
                </a:lnTo>
                <a:lnTo>
                  <a:pt x="2964" y="1621"/>
                </a:lnTo>
                <a:lnTo>
                  <a:pt x="2003" y="1621"/>
                </a:lnTo>
                <a:lnTo>
                  <a:pt x="2003" y="849"/>
                </a:lnTo>
                <a:lnTo>
                  <a:pt x="195" y="849"/>
                </a:lnTo>
                <a:close/>
                <a:moveTo>
                  <a:pt x="528" y="2209"/>
                </a:moveTo>
                <a:lnTo>
                  <a:pt x="2434" y="2209"/>
                </a:lnTo>
                <a:lnTo>
                  <a:pt x="2434" y="2306"/>
                </a:lnTo>
                <a:lnTo>
                  <a:pt x="528" y="2306"/>
                </a:lnTo>
                <a:lnTo>
                  <a:pt x="528" y="2209"/>
                </a:lnTo>
                <a:close/>
                <a:moveTo>
                  <a:pt x="528" y="2737"/>
                </a:moveTo>
                <a:lnTo>
                  <a:pt x="2434" y="2737"/>
                </a:lnTo>
                <a:lnTo>
                  <a:pt x="2434" y="2834"/>
                </a:lnTo>
                <a:lnTo>
                  <a:pt x="528" y="2834"/>
                </a:lnTo>
                <a:lnTo>
                  <a:pt x="528" y="2737"/>
                </a:lnTo>
                <a:close/>
                <a:moveTo>
                  <a:pt x="528" y="3265"/>
                </a:moveTo>
                <a:lnTo>
                  <a:pt x="2434" y="3265"/>
                </a:lnTo>
                <a:lnTo>
                  <a:pt x="2434" y="3363"/>
                </a:lnTo>
                <a:lnTo>
                  <a:pt x="528" y="3363"/>
                </a:lnTo>
                <a:lnTo>
                  <a:pt x="528" y="3265"/>
                </a:lnTo>
                <a:close/>
                <a:moveTo>
                  <a:pt x="964" y="218"/>
                </a:moveTo>
                <a:lnTo>
                  <a:pt x="964" y="0"/>
                </a:lnTo>
                <a:lnTo>
                  <a:pt x="3704" y="0"/>
                </a:lnTo>
                <a:lnTo>
                  <a:pt x="3704" y="3896"/>
                </a:lnTo>
                <a:lnTo>
                  <a:pt x="3452" y="3896"/>
                </a:lnTo>
                <a:lnTo>
                  <a:pt x="3452" y="3799"/>
                </a:lnTo>
                <a:lnTo>
                  <a:pt x="3607" y="3799"/>
                </a:lnTo>
                <a:lnTo>
                  <a:pt x="3607" y="97"/>
                </a:lnTo>
                <a:lnTo>
                  <a:pt x="1062" y="97"/>
                </a:lnTo>
                <a:lnTo>
                  <a:pt x="1062" y="218"/>
                </a:lnTo>
                <a:lnTo>
                  <a:pt x="964" y="218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646660" y="2238199"/>
            <a:ext cx="992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Платеж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400883" y="2238199"/>
            <a:ext cx="6944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Банк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47343" y="2238199"/>
            <a:ext cx="11082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Выписк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610105" y="2238199"/>
            <a:ext cx="17486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Обновленный </a:t>
            </a:r>
            <a:br>
              <a:rPr lang="ru-RU" dirty="0">
                <a:solidFill>
                  <a:srgbClr val="14AA96"/>
                </a:solidFill>
              </a:rPr>
            </a:br>
            <a:r>
              <a:rPr lang="ru-RU" dirty="0">
                <a:solidFill>
                  <a:srgbClr val="14AA96"/>
                </a:solidFill>
              </a:rPr>
              <a:t>график</a:t>
            </a:r>
          </a:p>
        </p:txBody>
      </p:sp>
      <p:cxnSp>
        <p:nvCxnSpPr>
          <p:cNvPr id="14" name="Прямая со стрелкой 13"/>
          <p:cNvCxnSpPr/>
          <p:nvPr/>
        </p:nvCxnSpPr>
        <p:spPr bwMode="auto">
          <a:xfrm>
            <a:off x="1992181" y="1845251"/>
            <a:ext cx="1224419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1750" cap="flat" cmpd="sng" algn="ctr">
            <a:solidFill>
              <a:srgbClr val="14AA96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 стрелкой 15"/>
          <p:cNvCxnSpPr/>
          <p:nvPr/>
        </p:nvCxnSpPr>
        <p:spPr bwMode="auto">
          <a:xfrm>
            <a:off x="4441020" y="1842225"/>
            <a:ext cx="1224419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1750" cap="flat" cmpd="sng" algn="ctr">
            <a:solidFill>
              <a:srgbClr val="14AA96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 стрелкой 16"/>
          <p:cNvCxnSpPr/>
          <p:nvPr/>
        </p:nvCxnSpPr>
        <p:spPr bwMode="auto">
          <a:xfrm>
            <a:off x="6673785" y="1842225"/>
            <a:ext cx="1224419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1750" cap="flat" cmpd="sng" algn="ctr">
            <a:solidFill>
              <a:srgbClr val="14AA96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5645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603" y="1530996"/>
            <a:ext cx="5328592" cy="5328592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РМ «Управление отклонениями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48269" y="1234282"/>
            <a:ext cx="7632328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FC6E51"/>
                </a:solidFill>
              </a:rPr>
              <a:t>Все виды обязательств в одном интерфейсе:</a:t>
            </a:r>
          </a:p>
          <a:p>
            <a:pPr marL="673200" lvl="2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Договоры с покупателями и поставщиками</a:t>
            </a:r>
          </a:p>
          <a:p>
            <a:pPr marL="673200" lvl="2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Договоры привлечения и размещения средств</a:t>
            </a:r>
          </a:p>
          <a:p>
            <a:pPr marL="673200" lvl="2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Ценные бумаги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FC6E51"/>
                </a:solidFill>
              </a:rPr>
              <a:t>Управление начислениями и оплатой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FC6E51"/>
                </a:solidFill>
              </a:rPr>
              <a:t>Фокус на проблемных участках:</a:t>
            </a:r>
          </a:p>
          <a:p>
            <a:pPr marL="673200" lvl="2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Ошибки установки управленческих аналитик</a:t>
            </a:r>
          </a:p>
          <a:p>
            <a:pPr marL="673200" lvl="2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Расхождение графиков и заявок</a:t>
            </a:r>
          </a:p>
          <a:p>
            <a:pPr marL="673200" lvl="2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Просроченная задолженность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ru-RU" dirty="0">
              <a:solidFill>
                <a:srgbClr val="80808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254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ковенантам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06E4F1C-D26E-4FA1-9A1E-206AB6CF313B}"/>
              </a:ext>
            </a:extLst>
          </p:cNvPr>
          <p:cNvSpPr/>
          <p:nvPr/>
        </p:nvSpPr>
        <p:spPr>
          <a:xfrm>
            <a:off x="409665" y="1293708"/>
            <a:ext cx="2952329" cy="1068448"/>
          </a:xfrm>
          <a:prstGeom prst="rect">
            <a:avLst/>
          </a:prstGeom>
          <a:solidFill>
            <a:srgbClr val="FBEAA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Наступает срок проверки ковенанта</a:t>
            </a:r>
          </a:p>
        </p:txBody>
      </p:sp>
      <p:sp>
        <p:nvSpPr>
          <p:cNvPr id="7" name="Блок-схема: документ 6">
            <a:extLst>
              <a:ext uri="{FF2B5EF4-FFF2-40B4-BE49-F238E27FC236}">
                <a16:creationId xmlns:a16="http://schemas.microsoft.com/office/drawing/2014/main" id="{DC0D9609-56C6-4ACF-A2CF-817DBE5195D9}"/>
              </a:ext>
            </a:extLst>
          </p:cNvPr>
          <p:cNvSpPr/>
          <p:nvPr/>
        </p:nvSpPr>
        <p:spPr>
          <a:xfrm>
            <a:off x="409665" y="2705705"/>
            <a:ext cx="2952329" cy="1068448"/>
          </a:xfrm>
          <a:prstGeom prst="flowChartDocument">
            <a:avLst/>
          </a:prstGeom>
          <a:solidFill>
            <a:srgbClr val="FBEAA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Оповещение ответственному</a:t>
            </a:r>
          </a:p>
        </p:txBody>
      </p:sp>
      <p:sp>
        <p:nvSpPr>
          <p:cNvPr id="8" name="Блок-схема: документ 7">
            <a:extLst>
              <a:ext uri="{FF2B5EF4-FFF2-40B4-BE49-F238E27FC236}">
                <a16:creationId xmlns:a16="http://schemas.microsoft.com/office/drawing/2014/main" id="{D4779346-766F-454D-B5EB-2E5451D1DF6C}"/>
              </a:ext>
            </a:extLst>
          </p:cNvPr>
          <p:cNvSpPr/>
          <p:nvPr/>
        </p:nvSpPr>
        <p:spPr>
          <a:xfrm>
            <a:off x="413523" y="4117702"/>
            <a:ext cx="2952329" cy="1068448"/>
          </a:xfrm>
          <a:prstGeom prst="flowChartDocument">
            <a:avLst/>
          </a:prstGeom>
          <a:solidFill>
            <a:srgbClr val="FBEAA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Документ «Исполнение ковенантов» </a:t>
            </a: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3197F7FA-301C-4F23-BA8B-5E40363116DB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>
            <a:off x="1885830" y="2362156"/>
            <a:ext cx="0" cy="343549"/>
          </a:xfrm>
          <a:prstGeom prst="straightConnector1">
            <a:avLst/>
          </a:prstGeom>
          <a:ln>
            <a:tailEnd type="stealth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6FC4CA9E-85C7-424E-A8BB-79C72F508A15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1885830" y="3703517"/>
            <a:ext cx="3858" cy="414185"/>
          </a:xfrm>
          <a:prstGeom prst="straightConnector1">
            <a:avLst/>
          </a:prstGeom>
          <a:ln>
            <a:tailEnd type="stealth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B2951C8-ACF1-48A8-AE6B-B00EC4922E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9437" y="2277666"/>
            <a:ext cx="7056073" cy="4311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Блок-схема: документ 18">
            <a:extLst>
              <a:ext uri="{FF2B5EF4-FFF2-40B4-BE49-F238E27FC236}">
                <a16:creationId xmlns:a16="http://schemas.microsoft.com/office/drawing/2014/main" id="{0F44D5B0-F72D-4FC3-9B79-B894415395D8}"/>
              </a:ext>
            </a:extLst>
          </p:cNvPr>
          <p:cNvSpPr/>
          <p:nvPr/>
        </p:nvSpPr>
        <p:spPr>
          <a:xfrm>
            <a:off x="139280" y="5529698"/>
            <a:ext cx="1997867" cy="1068448"/>
          </a:xfrm>
          <a:prstGeom prst="flowChartDocument">
            <a:avLst/>
          </a:prstGeom>
          <a:solidFill>
            <a:srgbClr val="FBEAA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Оповещение </a:t>
            </a:r>
            <a:b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</a:b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о нарушении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523730E-AE30-4FB3-B651-B40E94AD0E44}"/>
              </a:ext>
            </a:extLst>
          </p:cNvPr>
          <p:cNvSpPr/>
          <p:nvPr/>
        </p:nvSpPr>
        <p:spPr>
          <a:xfrm>
            <a:off x="2363060" y="5531691"/>
            <a:ext cx="1997867" cy="1068448"/>
          </a:xfrm>
          <a:prstGeom prst="rect">
            <a:avLst/>
          </a:prstGeom>
          <a:solidFill>
            <a:srgbClr val="FBEAA2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Сводный отчет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752508ED-51EA-4703-B903-DBF9F19B8E00}"/>
              </a:ext>
            </a:extLst>
          </p:cNvPr>
          <p:cNvCxnSpPr>
            <a:cxnSpLocks/>
            <a:stCxn id="8" idx="2"/>
            <a:endCxn id="19" idx="0"/>
          </p:cNvCxnSpPr>
          <p:nvPr/>
        </p:nvCxnSpPr>
        <p:spPr>
          <a:xfrm rot="5400000">
            <a:off x="1306859" y="4946869"/>
            <a:ext cx="414184" cy="751474"/>
          </a:xfrm>
          <a:prstGeom prst="bentConnector3">
            <a:avLst>
              <a:gd name="adj1" fmla="val 50000"/>
            </a:avLst>
          </a:prstGeom>
          <a:ln>
            <a:tailEnd type="stealth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" name="Прямая со стрелкой 10">
            <a:extLst>
              <a:ext uri="{FF2B5EF4-FFF2-40B4-BE49-F238E27FC236}">
                <a16:creationId xmlns:a16="http://schemas.microsoft.com/office/drawing/2014/main" id="{C9D8A066-60A9-4188-ABCE-7EF00E63B4ED}"/>
              </a:ext>
            </a:extLst>
          </p:cNvPr>
          <p:cNvCxnSpPr>
            <a:cxnSpLocks/>
            <a:stCxn id="8" idx="2"/>
            <a:endCxn id="22" idx="0"/>
          </p:cNvCxnSpPr>
          <p:nvPr/>
        </p:nvCxnSpPr>
        <p:spPr>
          <a:xfrm rot="16200000" flipH="1">
            <a:off x="2417753" y="4587449"/>
            <a:ext cx="416177" cy="1472306"/>
          </a:xfrm>
          <a:prstGeom prst="bentConnector3">
            <a:avLst>
              <a:gd name="adj1" fmla="val 50000"/>
            </a:avLst>
          </a:prstGeom>
          <a:ln>
            <a:tailEnd type="stealth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0756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 bwMode="auto">
          <a:xfrm>
            <a:off x="677721" y="1557153"/>
            <a:ext cx="1782313" cy="1835891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ru-RU" sz="1200" dirty="0">
                <a:solidFill>
                  <a:srgbClr val="808080"/>
                </a:solidFill>
              </a:rPr>
              <a:t>Организация 1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2568379" y="1557153"/>
            <a:ext cx="1782313" cy="1835891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ru-RU" sz="1200" dirty="0">
                <a:solidFill>
                  <a:srgbClr val="808080"/>
                </a:solidFill>
              </a:rPr>
              <a:t>Организация 2</a:t>
            </a:r>
          </a:p>
        </p:txBody>
      </p:sp>
      <p:sp>
        <p:nvSpPr>
          <p:cNvPr id="3379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Внутригрупповые договоры</a:t>
            </a:r>
          </a:p>
        </p:txBody>
      </p:sp>
      <p:sp>
        <p:nvSpPr>
          <p:cNvPr id="33798" name="Прямоугольник 19"/>
          <p:cNvSpPr>
            <a:spLocks noChangeArrowheads="1"/>
          </p:cNvSpPr>
          <p:nvPr/>
        </p:nvSpPr>
        <p:spPr bwMode="auto">
          <a:xfrm>
            <a:off x="1146812" y="1872660"/>
            <a:ext cx="971522" cy="430994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900" b="1">
              <a:solidFill>
                <a:srgbClr val="808080"/>
              </a:solidFill>
            </a:endParaRPr>
          </a:p>
        </p:txBody>
      </p:sp>
      <p:sp>
        <p:nvSpPr>
          <p:cNvPr id="33799" name="Прямоугольник 19"/>
          <p:cNvSpPr>
            <a:spLocks noChangeArrowheads="1"/>
          </p:cNvSpPr>
          <p:nvPr/>
        </p:nvSpPr>
        <p:spPr bwMode="auto">
          <a:xfrm>
            <a:off x="1146812" y="2623922"/>
            <a:ext cx="971522" cy="430994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900" b="1">
              <a:solidFill>
                <a:srgbClr val="808080"/>
              </a:solidFill>
            </a:endParaRPr>
          </a:p>
        </p:txBody>
      </p:sp>
      <p:sp>
        <p:nvSpPr>
          <p:cNvPr id="33800" name="Прямоугольник 20"/>
          <p:cNvSpPr>
            <a:spLocks noChangeArrowheads="1"/>
          </p:cNvSpPr>
          <p:nvPr/>
        </p:nvSpPr>
        <p:spPr bwMode="auto">
          <a:xfrm>
            <a:off x="1187292" y="1910756"/>
            <a:ext cx="971522" cy="432184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900" b="1">
                <a:solidFill>
                  <a:srgbClr val="808080"/>
                </a:solidFill>
              </a:rPr>
              <a:t>Договор</a:t>
            </a:r>
          </a:p>
        </p:txBody>
      </p:sp>
      <p:sp>
        <p:nvSpPr>
          <p:cNvPr id="33801" name="Прямоугольник 20"/>
          <p:cNvSpPr>
            <a:spLocks noChangeArrowheads="1"/>
          </p:cNvSpPr>
          <p:nvPr/>
        </p:nvSpPr>
        <p:spPr bwMode="auto">
          <a:xfrm>
            <a:off x="1192054" y="2663211"/>
            <a:ext cx="971522" cy="432184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900" b="1" dirty="0">
                <a:solidFill>
                  <a:srgbClr val="808080"/>
                </a:solidFill>
              </a:rPr>
              <a:t>Соглашение</a:t>
            </a:r>
          </a:p>
        </p:txBody>
      </p:sp>
      <p:sp>
        <p:nvSpPr>
          <p:cNvPr id="33802" name="Прямоугольник 19"/>
          <p:cNvSpPr>
            <a:spLocks noChangeArrowheads="1"/>
          </p:cNvSpPr>
          <p:nvPr/>
        </p:nvSpPr>
        <p:spPr bwMode="auto">
          <a:xfrm>
            <a:off x="2905314" y="1872660"/>
            <a:ext cx="971522" cy="430994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900" b="1">
              <a:solidFill>
                <a:srgbClr val="808080"/>
              </a:solidFill>
            </a:endParaRPr>
          </a:p>
        </p:txBody>
      </p:sp>
      <p:sp>
        <p:nvSpPr>
          <p:cNvPr id="33803" name="Прямоугольник 19"/>
          <p:cNvSpPr>
            <a:spLocks noChangeArrowheads="1"/>
          </p:cNvSpPr>
          <p:nvPr/>
        </p:nvSpPr>
        <p:spPr bwMode="auto">
          <a:xfrm>
            <a:off x="2905314" y="2623922"/>
            <a:ext cx="971522" cy="430994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900" b="1">
              <a:solidFill>
                <a:srgbClr val="808080"/>
              </a:solidFill>
            </a:endParaRPr>
          </a:p>
        </p:txBody>
      </p:sp>
      <p:sp>
        <p:nvSpPr>
          <p:cNvPr id="33804" name="Прямоугольник 20"/>
          <p:cNvSpPr>
            <a:spLocks noChangeArrowheads="1"/>
          </p:cNvSpPr>
          <p:nvPr/>
        </p:nvSpPr>
        <p:spPr bwMode="auto">
          <a:xfrm>
            <a:off x="2945794" y="1910756"/>
            <a:ext cx="971522" cy="432184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900" b="1" dirty="0">
                <a:solidFill>
                  <a:srgbClr val="808080"/>
                </a:solidFill>
              </a:rPr>
              <a:t>Договор</a:t>
            </a:r>
          </a:p>
        </p:txBody>
      </p:sp>
      <p:sp>
        <p:nvSpPr>
          <p:cNvPr id="33805" name="Прямоугольник 20"/>
          <p:cNvSpPr>
            <a:spLocks noChangeArrowheads="1"/>
          </p:cNvSpPr>
          <p:nvPr/>
        </p:nvSpPr>
        <p:spPr bwMode="auto">
          <a:xfrm>
            <a:off x="2950556" y="2663211"/>
            <a:ext cx="971522" cy="432184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900" b="1">
                <a:solidFill>
                  <a:srgbClr val="808080"/>
                </a:solidFill>
              </a:rPr>
              <a:t>Соглашение</a:t>
            </a:r>
          </a:p>
        </p:txBody>
      </p:sp>
      <p:cxnSp>
        <p:nvCxnSpPr>
          <p:cNvPr id="33806" name="Прямая соединительная линия 2"/>
          <p:cNvCxnSpPr>
            <a:cxnSpLocks noChangeShapeType="1"/>
          </p:cNvCxnSpPr>
          <p:nvPr/>
        </p:nvCxnSpPr>
        <p:spPr bwMode="auto">
          <a:xfrm>
            <a:off x="2513609" y="1557153"/>
            <a:ext cx="0" cy="1835891"/>
          </a:xfrm>
          <a:prstGeom prst="line">
            <a:avLst/>
          </a:prstGeom>
          <a:noFill/>
          <a:ln w="25400" algn="ctr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807" name="Прямая со стрелкой 28"/>
          <p:cNvCxnSpPr>
            <a:cxnSpLocks noChangeShapeType="1"/>
            <a:stCxn id="33800" idx="2"/>
            <a:endCxn id="33801" idx="0"/>
          </p:cNvCxnSpPr>
          <p:nvPr/>
        </p:nvCxnSpPr>
        <p:spPr bwMode="auto">
          <a:xfrm>
            <a:off x="1673053" y="2342943"/>
            <a:ext cx="4762" cy="320269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808" name="Прямая со стрелкой 31"/>
          <p:cNvCxnSpPr>
            <a:cxnSpLocks noChangeShapeType="1"/>
            <a:stCxn id="33804" idx="2"/>
            <a:endCxn id="33805" idx="0"/>
          </p:cNvCxnSpPr>
          <p:nvPr/>
        </p:nvCxnSpPr>
        <p:spPr bwMode="auto">
          <a:xfrm>
            <a:off x="3431555" y="2342943"/>
            <a:ext cx="4762" cy="320269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809" name="Прямая со стрелкой 9"/>
          <p:cNvCxnSpPr>
            <a:cxnSpLocks noChangeShapeType="1"/>
            <a:stCxn id="33800" idx="3"/>
            <a:endCxn id="33804" idx="1"/>
          </p:cNvCxnSpPr>
          <p:nvPr/>
        </p:nvCxnSpPr>
        <p:spPr bwMode="auto">
          <a:xfrm flipV="1">
            <a:off x="2158815" y="2127445"/>
            <a:ext cx="786980" cy="0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810" name="Прямая со стрелкой 37"/>
          <p:cNvCxnSpPr>
            <a:cxnSpLocks noChangeShapeType="1"/>
            <a:stCxn id="33801" idx="3"/>
            <a:endCxn id="33805" idx="1"/>
          </p:cNvCxnSpPr>
          <p:nvPr/>
        </p:nvCxnSpPr>
        <p:spPr bwMode="auto">
          <a:xfrm flipV="1">
            <a:off x="2163577" y="2879898"/>
            <a:ext cx="786980" cy="0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Стрелка влево 33"/>
          <p:cNvSpPr/>
          <p:nvPr/>
        </p:nvSpPr>
        <p:spPr bwMode="auto">
          <a:xfrm rot="10800000">
            <a:off x="2243348" y="2317939"/>
            <a:ext cx="216687" cy="309554"/>
          </a:xfrm>
          <a:prstGeom prst="leftArrow">
            <a:avLst/>
          </a:prstGeom>
          <a:solidFill>
            <a:srgbClr val="FC6E51">
              <a:alpha val="50000"/>
            </a:srgbClr>
          </a:solidFill>
          <a:ln w="635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endParaRPr lang="ru-RU" sz="1500">
              <a:solidFill>
                <a:srgbClr val="80808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93235" y="3618064"/>
            <a:ext cx="1000827" cy="41559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srgbClr val="808080"/>
                </a:solidFill>
              </a:rPr>
              <a:t>Организация</a:t>
            </a:r>
          </a:p>
          <a:p>
            <a:pPr>
              <a:defRPr/>
            </a:pPr>
            <a:r>
              <a:rPr lang="ru-RU" sz="1050" dirty="0">
                <a:solidFill>
                  <a:srgbClr val="808080"/>
                </a:solidFill>
              </a:rPr>
              <a:t>Контрагент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967225" y="3612110"/>
            <a:ext cx="1000827" cy="41559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srgbClr val="808080"/>
                </a:solidFill>
              </a:rPr>
              <a:t>Организация</a:t>
            </a:r>
          </a:p>
          <a:p>
            <a:pPr>
              <a:defRPr/>
            </a:pPr>
            <a:r>
              <a:rPr lang="ru-RU" sz="1050" dirty="0">
                <a:solidFill>
                  <a:srgbClr val="808080"/>
                </a:solidFill>
              </a:rPr>
              <a:t>Контрагент</a:t>
            </a:r>
          </a:p>
        </p:txBody>
      </p:sp>
      <p:cxnSp>
        <p:nvCxnSpPr>
          <p:cNvPr id="33814" name="Прямая со стрелкой 43"/>
          <p:cNvCxnSpPr>
            <a:cxnSpLocks noChangeShapeType="1"/>
          </p:cNvCxnSpPr>
          <p:nvPr/>
        </p:nvCxnSpPr>
        <p:spPr bwMode="auto">
          <a:xfrm>
            <a:off x="2081425" y="3766889"/>
            <a:ext cx="810793" cy="270265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815" name="Прямая со стрелкой 44"/>
          <p:cNvCxnSpPr>
            <a:cxnSpLocks noChangeShapeType="1"/>
          </p:cNvCxnSpPr>
          <p:nvPr/>
        </p:nvCxnSpPr>
        <p:spPr bwMode="auto">
          <a:xfrm flipV="1">
            <a:off x="2048088" y="3766889"/>
            <a:ext cx="810793" cy="270265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2687" y="2663211"/>
            <a:ext cx="4616837" cy="3932862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19961192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Часы, Время, Напоминание, Напомнить, Утром, Клипарт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531" y="2546880"/>
            <a:ext cx="4409728" cy="4409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9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Валютный контроль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33537" y="1342232"/>
            <a:ext cx="8928100" cy="525621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ru-RU" altLang="ru-RU" dirty="0">
                <a:solidFill>
                  <a:srgbClr val="FC6E51"/>
                </a:solidFill>
                <a:latin typeface="Arial" panose="020B0604020202020204" pitchFamily="34" charset="0"/>
              </a:rPr>
              <a:t>Документы</a:t>
            </a:r>
          </a:p>
          <a:p>
            <a:pPr lvl="1">
              <a:spcBef>
                <a:spcPct val="0"/>
              </a:spcBef>
              <a:spcAft>
                <a:spcPts val="600"/>
              </a:spcAft>
            </a:pPr>
            <a:r>
              <a:rPr lang="ru-RU" altLang="ru-RU" dirty="0">
                <a:solidFill>
                  <a:srgbClr val="808080"/>
                </a:solidFill>
              </a:rPr>
              <a:t>Сведения о валютных операциях (экс-СВО)</a:t>
            </a:r>
          </a:p>
          <a:p>
            <a:pPr lvl="1">
              <a:spcBef>
                <a:spcPct val="0"/>
              </a:spcBef>
              <a:spcAft>
                <a:spcPts val="600"/>
              </a:spcAft>
            </a:pPr>
            <a:r>
              <a:rPr lang="ru-RU" altLang="ru-RU" dirty="0">
                <a:solidFill>
                  <a:srgbClr val="808080"/>
                </a:solidFill>
              </a:rPr>
              <a:t>Справка о подтверждающих документах</a:t>
            </a:r>
            <a:endParaRPr lang="en-US" altLang="ru-RU" dirty="0">
              <a:solidFill>
                <a:srgbClr val="808080"/>
              </a:solidFill>
            </a:endParaRP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ru-RU" altLang="ru-RU" dirty="0">
                <a:solidFill>
                  <a:srgbClr val="FC6E51"/>
                </a:solidFill>
                <a:latin typeface="Arial" panose="020B0604020202020204" pitchFamily="34" charset="0"/>
              </a:rPr>
              <a:t>Оповещения:</a:t>
            </a:r>
          </a:p>
          <a:p>
            <a:pPr lvl="1"/>
            <a:r>
              <a:rPr lang="ru-RU" altLang="ru-RU" dirty="0">
                <a:solidFill>
                  <a:srgbClr val="808080"/>
                </a:solidFill>
              </a:rPr>
              <a:t>Подходит ожидаемый срок репатриации валюты</a:t>
            </a:r>
          </a:p>
          <a:p>
            <a:pPr lvl="1"/>
            <a:r>
              <a:rPr lang="ru-RU" altLang="ru-RU" dirty="0">
                <a:solidFill>
                  <a:srgbClr val="808080"/>
                </a:solidFill>
              </a:rPr>
              <a:t>Подходит срок формирования СПД </a:t>
            </a:r>
            <a:r>
              <a:rPr lang="en-US" altLang="ru-RU" dirty="0">
                <a:solidFill>
                  <a:srgbClr val="808080"/>
                </a:solidFill>
              </a:rPr>
              <a:t/>
            </a:r>
            <a:br>
              <a:rPr lang="en-US" altLang="ru-RU" dirty="0">
                <a:solidFill>
                  <a:srgbClr val="808080"/>
                </a:solidFill>
              </a:rPr>
            </a:br>
            <a:r>
              <a:rPr lang="ru-RU" altLang="ru-RU" dirty="0">
                <a:solidFill>
                  <a:srgbClr val="808080"/>
                </a:solidFill>
              </a:rPr>
              <a:t>по первичному документу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ru-RU" altLang="ru-RU" dirty="0">
                <a:solidFill>
                  <a:srgbClr val="FC6E51"/>
                </a:solidFill>
                <a:latin typeface="Arial" panose="020B0604020202020204" pitchFamily="34" charset="0"/>
              </a:rPr>
              <a:t>Отчеты по контролю сроко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94450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ерации с векселями</a:t>
            </a:r>
          </a:p>
        </p:txBody>
      </p:sp>
      <p:cxnSp>
        <p:nvCxnSpPr>
          <p:cNvPr id="10" name="Прямая со стрелкой 9"/>
          <p:cNvCxnSpPr/>
          <p:nvPr/>
        </p:nvCxnSpPr>
        <p:spPr bwMode="auto">
          <a:xfrm>
            <a:off x="7554715" y="3255649"/>
            <a:ext cx="0" cy="108498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 стрелкой 10"/>
          <p:cNvCxnSpPr/>
          <p:nvPr/>
        </p:nvCxnSpPr>
        <p:spPr bwMode="auto">
          <a:xfrm flipV="1">
            <a:off x="7934591" y="3255649"/>
            <a:ext cx="1" cy="108498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 стрелкой 11"/>
          <p:cNvCxnSpPr/>
          <p:nvPr/>
        </p:nvCxnSpPr>
        <p:spPr bwMode="auto">
          <a:xfrm>
            <a:off x="3505820" y="2164428"/>
            <a:ext cx="2750361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Box 12"/>
          <p:cNvSpPr txBox="1"/>
          <p:nvPr/>
        </p:nvSpPr>
        <p:spPr>
          <a:xfrm>
            <a:off x="4427394" y="1836326"/>
            <a:ext cx="959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Выпуск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00077" y="3158425"/>
            <a:ext cx="11478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Продаж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925808" y="4028669"/>
            <a:ext cx="1057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Покупк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13689" y="4900733"/>
            <a:ext cx="17674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Предъявление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 к погашению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150131" y="5724758"/>
            <a:ext cx="13866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Погашение</a:t>
            </a:r>
          </a:p>
        </p:txBody>
      </p:sp>
      <p:cxnSp>
        <p:nvCxnSpPr>
          <p:cNvPr id="18" name="Прямая со стрелкой 17"/>
          <p:cNvCxnSpPr/>
          <p:nvPr/>
        </p:nvCxnSpPr>
        <p:spPr bwMode="auto">
          <a:xfrm flipH="1">
            <a:off x="3505820" y="2452460"/>
            <a:ext cx="2750361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/>
          <p:cNvSpPr txBox="1"/>
          <p:nvPr/>
        </p:nvSpPr>
        <p:spPr>
          <a:xfrm>
            <a:off x="4081883" y="2380452"/>
            <a:ext cx="1732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Приобретение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1287915" y="1672883"/>
            <a:ext cx="2088232" cy="1379743"/>
            <a:chOff x="251520" y="1977249"/>
            <a:chExt cx="2088232" cy="1379743"/>
          </a:xfrm>
        </p:grpSpPr>
        <p:sp>
          <p:nvSpPr>
            <p:cNvPr id="21" name="TextBox 20"/>
            <p:cNvSpPr txBox="1"/>
            <p:nvPr/>
          </p:nvSpPr>
          <p:spPr>
            <a:xfrm>
              <a:off x="251520" y="1977249"/>
              <a:ext cx="2088232" cy="1379743"/>
            </a:xfrm>
            <a:prstGeom prst="rect">
              <a:avLst/>
            </a:prstGeom>
            <a:solidFill>
              <a:srgbClr val="FBEAA2"/>
            </a:solidFill>
          </p:spPr>
          <p:txBody>
            <a:bodyPr wrap="square" rtlCol="0" anchor="b">
              <a:noAutofit/>
            </a:bodyPr>
            <a:lstStyle/>
            <a:p>
              <a:pPr algn="ctr"/>
              <a:r>
                <a:rPr lang="ru-RU" dirty="0">
                  <a:solidFill>
                    <a:srgbClr val="808080"/>
                  </a:solidFill>
                </a:rPr>
                <a:t>Векселедатель</a:t>
              </a:r>
            </a:p>
          </p:txBody>
        </p:sp>
        <p:sp>
          <p:nvSpPr>
            <p:cNvPr id="22" name="Freeform 100"/>
            <p:cNvSpPr>
              <a:spLocks noChangeAspect="1" noEditPoints="1"/>
            </p:cNvSpPr>
            <p:nvPr/>
          </p:nvSpPr>
          <p:spPr bwMode="auto">
            <a:xfrm>
              <a:off x="1146411" y="2131737"/>
              <a:ext cx="298450" cy="766763"/>
            </a:xfrm>
            <a:custGeom>
              <a:avLst/>
              <a:gdLst>
                <a:gd name="T0" fmla="*/ 2147483647 w 1850"/>
                <a:gd name="T1" fmla="*/ 2147483647 h 4763"/>
                <a:gd name="T2" fmla="*/ 0 w 1850"/>
                <a:gd name="T3" fmla="*/ 2147483647 h 4763"/>
                <a:gd name="T4" fmla="*/ 2147483647 w 1850"/>
                <a:gd name="T5" fmla="*/ 2147483647 h 4763"/>
                <a:gd name="T6" fmla="*/ 2147483647 w 1850"/>
                <a:gd name="T7" fmla="*/ 2147483647 h 4763"/>
                <a:gd name="T8" fmla="*/ 2147483647 w 1850"/>
                <a:gd name="T9" fmla="*/ 2147483647 h 4763"/>
                <a:gd name="T10" fmla="*/ 2147483647 w 1850"/>
                <a:gd name="T11" fmla="*/ 2147483647 h 4763"/>
                <a:gd name="T12" fmla="*/ 2147483647 w 1850"/>
                <a:gd name="T13" fmla="*/ 2147483647 h 4763"/>
                <a:gd name="T14" fmla="*/ 2147483647 w 1850"/>
                <a:gd name="T15" fmla="*/ 2147483647 h 4763"/>
                <a:gd name="T16" fmla="*/ 2147483647 w 1850"/>
                <a:gd name="T17" fmla="*/ 2147483647 h 4763"/>
                <a:gd name="T18" fmla="*/ 2147483647 w 1850"/>
                <a:gd name="T19" fmla="*/ 2147483647 h 4763"/>
                <a:gd name="T20" fmla="*/ 2147483647 w 1850"/>
                <a:gd name="T21" fmla="*/ 2147483647 h 4763"/>
                <a:gd name="T22" fmla="*/ 2147483647 w 1850"/>
                <a:gd name="T23" fmla="*/ 2147483647 h 4763"/>
                <a:gd name="T24" fmla="*/ 2147483647 w 1850"/>
                <a:gd name="T25" fmla="*/ 2147483647 h 4763"/>
                <a:gd name="T26" fmla="*/ 2147483647 w 1850"/>
                <a:gd name="T27" fmla="*/ 2147483647 h 4763"/>
                <a:gd name="T28" fmla="*/ 2147483647 w 1850"/>
                <a:gd name="T29" fmla="*/ 2147483647 h 4763"/>
                <a:gd name="T30" fmla="*/ 2147483647 w 1850"/>
                <a:gd name="T31" fmla="*/ 2147483647 h 4763"/>
                <a:gd name="T32" fmla="*/ 2147483647 w 1850"/>
                <a:gd name="T33" fmla="*/ 2147483647 h 4763"/>
                <a:gd name="T34" fmla="*/ 2147483647 w 1850"/>
                <a:gd name="T35" fmla="*/ 2147483647 h 4763"/>
                <a:gd name="T36" fmla="*/ 2147483647 w 1850"/>
                <a:gd name="T37" fmla="*/ 2147483647 h 4763"/>
                <a:gd name="T38" fmla="*/ 2147483647 w 1850"/>
                <a:gd name="T39" fmla="*/ 2147483647 h 4763"/>
                <a:gd name="T40" fmla="*/ 2147483647 w 1850"/>
                <a:gd name="T41" fmla="*/ 2147483647 h 4763"/>
                <a:gd name="T42" fmla="*/ 2147483647 w 1850"/>
                <a:gd name="T43" fmla="*/ 2147483647 h 4763"/>
                <a:gd name="T44" fmla="*/ 2147483647 w 1850"/>
                <a:gd name="T45" fmla="*/ 2147483647 h 4763"/>
                <a:gd name="T46" fmla="*/ 2147483647 w 1850"/>
                <a:gd name="T47" fmla="*/ 2147483647 h 4763"/>
                <a:gd name="T48" fmla="*/ 2147483647 w 1850"/>
                <a:gd name="T49" fmla="*/ 2147483647 h 4763"/>
                <a:gd name="T50" fmla="*/ 2147483647 w 1850"/>
                <a:gd name="T51" fmla="*/ 2147483647 h 4763"/>
                <a:gd name="T52" fmla="*/ 2147483647 w 1850"/>
                <a:gd name="T53" fmla="*/ 2147483647 h 4763"/>
                <a:gd name="T54" fmla="*/ 2147483647 w 1850"/>
                <a:gd name="T55" fmla="*/ 2147483647 h 4763"/>
                <a:gd name="T56" fmla="*/ 2147483647 w 1850"/>
                <a:gd name="T57" fmla="*/ 2147483647 h 4763"/>
                <a:gd name="T58" fmla="*/ 2147483647 w 1850"/>
                <a:gd name="T59" fmla="*/ 2147483647 h 4763"/>
                <a:gd name="T60" fmla="*/ 2147483647 w 1850"/>
                <a:gd name="T61" fmla="*/ 2147483647 h 4763"/>
                <a:gd name="T62" fmla="*/ 2147483647 w 1850"/>
                <a:gd name="T63" fmla="*/ 2147483647 h 4763"/>
                <a:gd name="T64" fmla="*/ 2147483647 w 1850"/>
                <a:gd name="T65" fmla="*/ 2147483647 h 4763"/>
                <a:gd name="T66" fmla="*/ 2147483647 w 1850"/>
                <a:gd name="T67" fmla="*/ 2147483647 h 4763"/>
                <a:gd name="T68" fmla="*/ 2147483647 w 1850"/>
                <a:gd name="T69" fmla="*/ 2147483647 h 4763"/>
                <a:gd name="T70" fmla="*/ 2147483647 w 1850"/>
                <a:gd name="T71" fmla="*/ 2147483647 h 4763"/>
                <a:gd name="T72" fmla="*/ 2147483647 w 1850"/>
                <a:gd name="T73" fmla="*/ 2147483647 h 4763"/>
                <a:gd name="T74" fmla="*/ 2147483647 w 1850"/>
                <a:gd name="T75" fmla="*/ 2147483647 h 4763"/>
                <a:gd name="T76" fmla="*/ 2147483647 w 1850"/>
                <a:gd name="T77" fmla="*/ 2147483647 h 4763"/>
                <a:gd name="T78" fmla="*/ 2147483647 w 1850"/>
                <a:gd name="T79" fmla="*/ 2147483647 h 4763"/>
                <a:gd name="T80" fmla="*/ 2147483647 w 1850"/>
                <a:gd name="T81" fmla="*/ 2147483647 h 4763"/>
                <a:gd name="T82" fmla="*/ 2147483647 w 1850"/>
                <a:gd name="T83" fmla="*/ 2147483647 h 4763"/>
                <a:gd name="T84" fmla="*/ 2147483647 w 1850"/>
                <a:gd name="T85" fmla="*/ 2147483647 h 4763"/>
                <a:gd name="T86" fmla="*/ 2147483647 w 1850"/>
                <a:gd name="T87" fmla="*/ 2147483647 h 4763"/>
                <a:gd name="T88" fmla="*/ 2147483647 w 1850"/>
                <a:gd name="T89" fmla="*/ 2147483647 h 4763"/>
                <a:gd name="T90" fmla="*/ 2147483647 w 1850"/>
                <a:gd name="T91" fmla="*/ 2147483647 h 4763"/>
                <a:gd name="T92" fmla="*/ 2147483647 w 1850"/>
                <a:gd name="T93" fmla="*/ 2147483647 h 4763"/>
                <a:gd name="T94" fmla="*/ 2147483647 w 1850"/>
                <a:gd name="T95" fmla="*/ 2147483647 h 4763"/>
                <a:gd name="T96" fmla="*/ 2147483647 w 1850"/>
                <a:gd name="T97" fmla="*/ 2147483647 h 4763"/>
                <a:gd name="T98" fmla="*/ 2147483647 w 1850"/>
                <a:gd name="T99" fmla="*/ 2147483647 h 4763"/>
                <a:gd name="T100" fmla="*/ 2147483647 w 1850"/>
                <a:gd name="T101" fmla="*/ 2147483647 h 4763"/>
                <a:gd name="T102" fmla="*/ 2147483647 w 1850"/>
                <a:gd name="T103" fmla="*/ 2147483647 h 4763"/>
                <a:gd name="T104" fmla="*/ 2147483647 w 1850"/>
                <a:gd name="T105" fmla="*/ 2147483647 h 4763"/>
                <a:gd name="T106" fmla="*/ 2147483647 w 1850"/>
                <a:gd name="T107" fmla="*/ 2147483647 h 4763"/>
                <a:gd name="T108" fmla="*/ 2147483647 w 1850"/>
                <a:gd name="T109" fmla="*/ 2147483647 h 4763"/>
                <a:gd name="T110" fmla="*/ 2147483647 w 1850"/>
                <a:gd name="T111" fmla="*/ 2147483647 h 4763"/>
                <a:gd name="T112" fmla="*/ 2147483647 w 1850"/>
                <a:gd name="T113" fmla="*/ 2147483647 h 4763"/>
                <a:gd name="T114" fmla="*/ 2147483647 w 1850"/>
                <a:gd name="T115" fmla="*/ 2147483647 h 4763"/>
                <a:gd name="T116" fmla="*/ 2147483647 w 1850"/>
                <a:gd name="T117" fmla="*/ 2147483647 h 4763"/>
                <a:gd name="T118" fmla="*/ 2147483647 w 1850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50"/>
                <a:gd name="T181" fmla="*/ 0 h 4763"/>
                <a:gd name="T182" fmla="*/ 1850 w 1850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50" h="4763">
                  <a:moveTo>
                    <a:pt x="352" y="3267"/>
                  </a:moveTo>
                  <a:lnTo>
                    <a:pt x="153" y="3107"/>
                  </a:lnTo>
                  <a:lnTo>
                    <a:pt x="70" y="2776"/>
                  </a:lnTo>
                  <a:lnTo>
                    <a:pt x="123" y="2776"/>
                  </a:lnTo>
                  <a:lnTo>
                    <a:pt x="200" y="3077"/>
                  </a:lnTo>
                  <a:lnTo>
                    <a:pt x="348" y="3198"/>
                  </a:lnTo>
                  <a:lnTo>
                    <a:pt x="326" y="2724"/>
                  </a:lnTo>
                  <a:lnTo>
                    <a:pt x="271" y="2724"/>
                  </a:lnTo>
                  <a:lnTo>
                    <a:pt x="110" y="2724"/>
                  </a:lnTo>
                  <a:lnTo>
                    <a:pt x="57" y="2724"/>
                  </a:lnTo>
                  <a:lnTo>
                    <a:pt x="0" y="2724"/>
                  </a:lnTo>
                  <a:lnTo>
                    <a:pt x="0" y="1160"/>
                  </a:lnTo>
                  <a:lnTo>
                    <a:pt x="0" y="1139"/>
                  </a:lnTo>
                  <a:lnTo>
                    <a:pt x="4" y="1121"/>
                  </a:lnTo>
                  <a:lnTo>
                    <a:pt x="9" y="1103"/>
                  </a:lnTo>
                  <a:lnTo>
                    <a:pt x="16" y="1087"/>
                  </a:lnTo>
                  <a:lnTo>
                    <a:pt x="23" y="1073"/>
                  </a:lnTo>
                  <a:lnTo>
                    <a:pt x="34" y="1059"/>
                  </a:lnTo>
                  <a:lnTo>
                    <a:pt x="45" y="1047"/>
                  </a:lnTo>
                  <a:lnTo>
                    <a:pt x="57" y="1035"/>
                  </a:lnTo>
                  <a:lnTo>
                    <a:pt x="71" y="1025"/>
                  </a:lnTo>
                  <a:lnTo>
                    <a:pt x="87" y="1016"/>
                  </a:lnTo>
                  <a:lnTo>
                    <a:pt x="103" y="1007"/>
                  </a:lnTo>
                  <a:lnTo>
                    <a:pt x="121" y="998"/>
                  </a:lnTo>
                  <a:lnTo>
                    <a:pt x="157" y="982"/>
                  </a:lnTo>
                  <a:lnTo>
                    <a:pt x="196" y="968"/>
                  </a:lnTo>
                  <a:lnTo>
                    <a:pt x="592" y="823"/>
                  </a:lnTo>
                  <a:lnTo>
                    <a:pt x="719" y="1576"/>
                  </a:lnTo>
                  <a:lnTo>
                    <a:pt x="780" y="1033"/>
                  </a:lnTo>
                  <a:lnTo>
                    <a:pt x="766" y="1025"/>
                  </a:lnTo>
                  <a:lnTo>
                    <a:pt x="753" y="1016"/>
                  </a:lnTo>
                  <a:lnTo>
                    <a:pt x="741" y="1004"/>
                  </a:lnTo>
                  <a:lnTo>
                    <a:pt x="732" y="991"/>
                  </a:lnTo>
                  <a:lnTo>
                    <a:pt x="831" y="898"/>
                  </a:lnTo>
                  <a:lnTo>
                    <a:pt x="930" y="991"/>
                  </a:lnTo>
                  <a:lnTo>
                    <a:pt x="920" y="1004"/>
                  </a:lnTo>
                  <a:lnTo>
                    <a:pt x="909" y="1016"/>
                  </a:lnTo>
                  <a:lnTo>
                    <a:pt x="897" y="1025"/>
                  </a:lnTo>
                  <a:lnTo>
                    <a:pt x="883" y="1033"/>
                  </a:lnTo>
                  <a:lnTo>
                    <a:pt x="943" y="1576"/>
                  </a:lnTo>
                  <a:lnTo>
                    <a:pt x="1070" y="823"/>
                  </a:lnTo>
                  <a:lnTo>
                    <a:pt x="1466" y="968"/>
                  </a:lnTo>
                  <a:lnTo>
                    <a:pt x="1505" y="982"/>
                  </a:lnTo>
                  <a:lnTo>
                    <a:pt x="1540" y="998"/>
                  </a:lnTo>
                  <a:lnTo>
                    <a:pt x="1555" y="1007"/>
                  </a:lnTo>
                  <a:lnTo>
                    <a:pt x="1571" y="1016"/>
                  </a:lnTo>
                  <a:lnTo>
                    <a:pt x="1584" y="1025"/>
                  </a:lnTo>
                  <a:lnTo>
                    <a:pt x="1597" y="1037"/>
                  </a:lnTo>
                  <a:lnTo>
                    <a:pt x="1610" y="1047"/>
                  </a:lnTo>
                  <a:lnTo>
                    <a:pt x="1620" y="1060"/>
                  </a:lnTo>
                  <a:lnTo>
                    <a:pt x="1631" y="1073"/>
                  </a:lnTo>
                  <a:lnTo>
                    <a:pt x="1638" y="1087"/>
                  </a:lnTo>
                  <a:lnTo>
                    <a:pt x="1646" y="1104"/>
                  </a:lnTo>
                  <a:lnTo>
                    <a:pt x="1653" y="1121"/>
                  </a:lnTo>
                  <a:lnTo>
                    <a:pt x="1658" y="1139"/>
                  </a:lnTo>
                  <a:lnTo>
                    <a:pt x="1663" y="1160"/>
                  </a:lnTo>
                  <a:lnTo>
                    <a:pt x="1842" y="2208"/>
                  </a:lnTo>
                  <a:lnTo>
                    <a:pt x="1422" y="2208"/>
                  </a:lnTo>
                  <a:lnTo>
                    <a:pt x="1449" y="2260"/>
                  </a:lnTo>
                  <a:lnTo>
                    <a:pt x="1850" y="2260"/>
                  </a:lnTo>
                  <a:lnTo>
                    <a:pt x="1850" y="2321"/>
                  </a:lnTo>
                  <a:lnTo>
                    <a:pt x="1733" y="2321"/>
                  </a:lnTo>
                  <a:lnTo>
                    <a:pt x="1422" y="2321"/>
                  </a:lnTo>
                  <a:lnTo>
                    <a:pt x="1340" y="2163"/>
                  </a:lnTo>
                  <a:lnTo>
                    <a:pt x="1333" y="2154"/>
                  </a:lnTo>
                  <a:lnTo>
                    <a:pt x="1328" y="2144"/>
                  </a:lnTo>
                  <a:lnTo>
                    <a:pt x="1322" y="2137"/>
                  </a:lnTo>
                  <a:lnTo>
                    <a:pt x="1315" y="2130"/>
                  </a:lnTo>
                  <a:lnTo>
                    <a:pt x="1301" y="2118"/>
                  </a:lnTo>
                  <a:lnTo>
                    <a:pt x="1287" y="2111"/>
                  </a:lnTo>
                  <a:lnTo>
                    <a:pt x="1272" y="2105"/>
                  </a:lnTo>
                  <a:lnTo>
                    <a:pt x="1258" y="2103"/>
                  </a:lnTo>
                  <a:lnTo>
                    <a:pt x="1244" y="2102"/>
                  </a:lnTo>
                  <a:lnTo>
                    <a:pt x="1229" y="2104"/>
                  </a:lnTo>
                  <a:lnTo>
                    <a:pt x="1215" y="2107"/>
                  </a:lnTo>
                  <a:lnTo>
                    <a:pt x="1203" y="2111"/>
                  </a:lnTo>
                  <a:lnTo>
                    <a:pt x="1192" y="2116"/>
                  </a:lnTo>
                  <a:lnTo>
                    <a:pt x="1183" y="2122"/>
                  </a:lnTo>
                  <a:lnTo>
                    <a:pt x="1174" y="2129"/>
                  </a:lnTo>
                  <a:lnTo>
                    <a:pt x="1168" y="2135"/>
                  </a:lnTo>
                  <a:lnTo>
                    <a:pt x="1165" y="2141"/>
                  </a:lnTo>
                  <a:lnTo>
                    <a:pt x="1162" y="2147"/>
                  </a:lnTo>
                  <a:lnTo>
                    <a:pt x="1157" y="2387"/>
                  </a:lnTo>
                  <a:lnTo>
                    <a:pt x="1157" y="2402"/>
                  </a:lnTo>
                  <a:lnTo>
                    <a:pt x="1159" y="2415"/>
                  </a:lnTo>
                  <a:lnTo>
                    <a:pt x="1162" y="2428"/>
                  </a:lnTo>
                  <a:lnTo>
                    <a:pt x="1166" y="2439"/>
                  </a:lnTo>
                  <a:lnTo>
                    <a:pt x="1171" y="2450"/>
                  </a:lnTo>
                  <a:lnTo>
                    <a:pt x="1176" y="2460"/>
                  </a:lnTo>
                  <a:lnTo>
                    <a:pt x="1184" y="2469"/>
                  </a:lnTo>
                  <a:lnTo>
                    <a:pt x="1192" y="2478"/>
                  </a:lnTo>
                  <a:lnTo>
                    <a:pt x="1200" y="2486"/>
                  </a:lnTo>
                  <a:lnTo>
                    <a:pt x="1210" y="2494"/>
                  </a:lnTo>
                  <a:lnTo>
                    <a:pt x="1220" y="2500"/>
                  </a:lnTo>
                  <a:lnTo>
                    <a:pt x="1231" y="2506"/>
                  </a:lnTo>
                  <a:lnTo>
                    <a:pt x="1242" y="2511"/>
                  </a:lnTo>
                  <a:lnTo>
                    <a:pt x="1254" y="2516"/>
                  </a:lnTo>
                  <a:lnTo>
                    <a:pt x="1279" y="2522"/>
                  </a:lnTo>
                  <a:lnTo>
                    <a:pt x="1305" y="2526"/>
                  </a:lnTo>
                  <a:lnTo>
                    <a:pt x="1332" y="2528"/>
                  </a:lnTo>
                  <a:lnTo>
                    <a:pt x="1359" y="2526"/>
                  </a:lnTo>
                  <a:lnTo>
                    <a:pt x="1385" y="2522"/>
                  </a:lnTo>
                  <a:lnTo>
                    <a:pt x="1411" y="2515"/>
                  </a:lnTo>
                  <a:lnTo>
                    <a:pt x="1437" y="2506"/>
                  </a:lnTo>
                  <a:lnTo>
                    <a:pt x="1459" y="2495"/>
                  </a:lnTo>
                  <a:lnTo>
                    <a:pt x="1471" y="2489"/>
                  </a:lnTo>
                  <a:lnTo>
                    <a:pt x="1480" y="2481"/>
                  </a:lnTo>
                  <a:lnTo>
                    <a:pt x="1620" y="2373"/>
                  </a:lnTo>
                  <a:lnTo>
                    <a:pt x="1705" y="2373"/>
                  </a:lnTo>
                  <a:lnTo>
                    <a:pt x="1512" y="2522"/>
                  </a:lnTo>
                  <a:lnTo>
                    <a:pt x="1498" y="2532"/>
                  </a:lnTo>
                  <a:lnTo>
                    <a:pt x="1483" y="2541"/>
                  </a:lnTo>
                  <a:lnTo>
                    <a:pt x="1464" y="2548"/>
                  </a:lnTo>
                  <a:lnTo>
                    <a:pt x="1446" y="2556"/>
                  </a:lnTo>
                  <a:lnTo>
                    <a:pt x="1345" y="4763"/>
                  </a:lnTo>
                  <a:lnTo>
                    <a:pt x="909" y="4763"/>
                  </a:lnTo>
                  <a:lnTo>
                    <a:pt x="909" y="2771"/>
                  </a:lnTo>
                  <a:lnTo>
                    <a:pt x="857" y="2771"/>
                  </a:lnTo>
                  <a:lnTo>
                    <a:pt x="857" y="4763"/>
                  </a:lnTo>
                  <a:lnTo>
                    <a:pt x="421" y="4763"/>
                  </a:lnTo>
                  <a:lnTo>
                    <a:pt x="352" y="3267"/>
                  </a:lnTo>
                  <a:close/>
                  <a:moveTo>
                    <a:pt x="1106" y="2321"/>
                  </a:moveTo>
                  <a:lnTo>
                    <a:pt x="645" y="2321"/>
                  </a:lnTo>
                  <a:lnTo>
                    <a:pt x="645" y="2372"/>
                  </a:lnTo>
                  <a:lnTo>
                    <a:pt x="1105" y="2372"/>
                  </a:lnTo>
                  <a:lnTo>
                    <a:pt x="1106" y="2321"/>
                  </a:lnTo>
                  <a:close/>
                  <a:moveTo>
                    <a:pt x="1109" y="2208"/>
                  </a:moveTo>
                  <a:lnTo>
                    <a:pt x="645" y="2208"/>
                  </a:lnTo>
                  <a:lnTo>
                    <a:pt x="645" y="2260"/>
                  </a:lnTo>
                  <a:lnTo>
                    <a:pt x="1107" y="2260"/>
                  </a:lnTo>
                  <a:lnTo>
                    <a:pt x="1109" y="2208"/>
                  </a:lnTo>
                  <a:close/>
                  <a:moveTo>
                    <a:pt x="1393" y="2152"/>
                  </a:moveTo>
                  <a:lnTo>
                    <a:pt x="1773" y="2152"/>
                  </a:lnTo>
                  <a:lnTo>
                    <a:pt x="1606" y="1820"/>
                  </a:lnTo>
                  <a:lnTo>
                    <a:pt x="660" y="1820"/>
                  </a:lnTo>
                  <a:lnTo>
                    <a:pt x="640" y="2152"/>
                  </a:lnTo>
                  <a:lnTo>
                    <a:pt x="1110" y="2152"/>
                  </a:lnTo>
                  <a:lnTo>
                    <a:pt x="1110" y="2146"/>
                  </a:lnTo>
                  <a:lnTo>
                    <a:pt x="1111" y="2134"/>
                  </a:lnTo>
                  <a:lnTo>
                    <a:pt x="1114" y="2124"/>
                  </a:lnTo>
                  <a:lnTo>
                    <a:pt x="1116" y="2115"/>
                  </a:lnTo>
                  <a:lnTo>
                    <a:pt x="1120" y="2105"/>
                  </a:lnTo>
                  <a:lnTo>
                    <a:pt x="1126" y="2096"/>
                  </a:lnTo>
                  <a:lnTo>
                    <a:pt x="1132" y="2089"/>
                  </a:lnTo>
                  <a:lnTo>
                    <a:pt x="1139" y="2082"/>
                  </a:lnTo>
                  <a:lnTo>
                    <a:pt x="1146" y="2076"/>
                  </a:lnTo>
                  <a:lnTo>
                    <a:pt x="1154" y="2070"/>
                  </a:lnTo>
                  <a:lnTo>
                    <a:pt x="1163" y="2065"/>
                  </a:lnTo>
                  <a:lnTo>
                    <a:pt x="1172" y="2061"/>
                  </a:lnTo>
                  <a:lnTo>
                    <a:pt x="1183" y="2059"/>
                  </a:lnTo>
                  <a:lnTo>
                    <a:pt x="1203" y="2054"/>
                  </a:lnTo>
                  <a:lnTo>
                    <a:pt x="1226" y="2052"/>
                  </a:lnTo>
                  <a:lnTo>
                    <a:pt x="1249" y="2054"/>
                  </a:lnTo>
                  <a:lnTo>
                    <a:pt x="1271" y="2057"/>
                  </a:lnTo>
                  <a:lnTo>
                    <a:pt x="1294" y="2064"/>
                  </a:lnTo>
                  <a:lnTo>
                    <a:pt x="1316" y="2073"/>
                  </a:lnTo>
                  <a:lnTo>
                    <a:pt x="1327" y="2078"/>
                  </a:lnTo>
                  <a:lnTo>
                    <a:pt x="1337" y="2085"/>
                  </a:lnTo>
                  <a:lnTo>
                    <a:pt x="1346" y="2092"/>
                  </a:lnTo>
                  <a:lnTo>
                    <a:pt x="1355" y="2100"/>
                  </a:lnTo>
                  <a:lnTo>
                    <a:pt x="1364" y="2108"/>
                  </a:lnTo>
                  <a:lnTo>
                    <a:pt x="1372" y="2117"/>
                  </a:lnTo>
                  <a:lnTo>
                    <a:pt x="1379" y="2128"/>
                  </a:lnTo>
                  <a:lnTo>
                    <a:pt x="1385" y="2138"/>
                  </a:lnTo>
                  <a:lnTo>
                    <a:pt x="1393" y="2152"/>
                  </a:lnTo>
                  <a:close/>
                  <a:moveTo>
                    <a:pt x="1114" y="504"/>
                  </a:moveTo>
                  <a:lnTo>
                    <a:pt x="1114" y="504"/>
                  </a:lnTo>
                  <a:lnTo>
                    <a:pt x="1109" y="531"/>
                  </a:lnTo>
                  <a:lnTo>
                    <a:pt x="1102" y="557"/>
                  </a:lnTo>
                  <a:lnTo>
                    <a:pt x="1093" y="583"/>
                  </a:lnTo>
                  <a:lnTo>
                    <a:pt x="1081" y="607"/>
                  </a:lnTo>
                  <a:lnTo>
                    <a:pt x="1068" y="630"/>
                  </a:lnTo>
                  <a:lnTo>
                    <a:pt x="1054" y="651"/>
                  </a:lnTo>
                  <a:lnTo>
                    <a:pt x="1039" y="672"/>
                  </a:lnTo>
                  <a:lnTo>
                    <a:pt x="1022" y="690"/>
                  </a:lnTo>
                  <a:lnTo>
                    <a:pt x="1002" y="707"/>
                  </a:lnTo>
                  <a:lnTo>
                    <a:pt x="981" y="721"/>
                  </a:lnTo>
                  <a:lnTo>
                    <a:pt x="961" y="734"/>
                  </a:lnTo>
                  <a:lnTo>
                    <a:pt x="939" y="746"/>
                  </a:lnTo>
                  <a:lnTo>
                    <a:pt x="914" y="755"/>
                  </a:lnTo>
                  <a:lnTo>
                    <a:pt x="889" y="760"/>
                  </a:lnTo>
                  <a:lnTo>
                    <a:pt x="865" y="764"/>
                  </a:lnTo>
                  <a:lnTo>
                    <a:pt x="839" y="765"/>
                  </a:lnTo>
                  <a:lnTo>
                    <a:pt x="813" y="764"/>
                  </a:lnTo>
                  <a:lnTo>
                    <a:pt x="787" y="760"/>
                  </a:lnTo>
                  <a:lnTo>
                    <a:pt x="762" y="753"/>
                  </a:lnTo>
                  <a:lnTo>
                    <a:pt x="739" y="746"/>
                  </a:lnTo>
                  <a:lnTo>
                    <a:pt x="715" y="734"/>
                  </a:lnTo>
                  <a:lnTo>
                    <a:pt x="695" y="721"/>
                  </a:lnTo>
                  <a:lnTo>
                    <a:pt x="674" y="707"/>
                  </a:lnTo>
                  <a:lnTo>
                    <a:pt x="656" y="690"/>
                  </a:lnTo>
                  <a:lnTo>
                    <a:pt x="637" y="670"/>
                  </a:lnTo>
                  <a:lnTo>
                    <a:pt x="622" y="651"/>
                  </a:lnTo>
                  <a:lnTo>
                    <a:pt x="608" y="629"/>
                  </a:lnTo>
                  <a:lnTo>
                    <a:pt x="595" y="607"/>
                  </a:lnTo>
                  <a:lnTo>
                    <a:pt x="584" y="582"/>
                  </a:lnTo>
                  <a:lnTo>
                    <a:pt x="575" y="557"/>
                  </a:lnTo>
                  <a:lnTo>
                    <a:pt x="567" y="530"/>
                  </a:lnTo>
                  <a:lnTo>
                    <a:pt x="563" y="503"/>
                  </a:lnTo>
                  <a:lnTo>
                    <a:pt x="557" y="492"/>
                  </a:lnTo>
                  <a:lnTo>
                    <a:pt x="552" y="479"/>
                  </a:lnTo>
                  <a:lnTo>
                    <a:pt x="547" y="468"/>
                  </a:lnTo>
                  <a:lnTo>
                    <a:pt x="543" y="455"/>
                  </a:lnTo>
                  <a:lnTo>
                    <a:pt x="540" y="442"/>
                  </a:lnTo>
                  <a:lnTo>
                    <a:pt x="537" y="427"/>
                  </a:lnTo>
                  <a:lnTo>
                    <a:pt x="536" y="413"/>
                  </a:lnTo>
                  <a:lnTo>
                    <a:pt x="536" y="397"/>
                  </a:lnTo>
                  <a:lnTo>
                    <a:pt x="536" y="179"/>
                  </a:lnTo>
                  <a:lnTo>
                    <a:pt x="537" y="168"/>
                  </a:lnTo>
                  <a:lnTo>
                    <a:pt x="540" y="156"/>
                  </a:lnTo>
                  <a:lnTo>
                    <a:pt x="544" y="143"/>
                  </a:lnTo>
                  <a:lnTo>
                    <a:pt x="549" y="131"/>
                  </a:lnTo>
                  <a:lnTo>
                    <a:pt x="557" y="119"/>
                  </a:lnTo>
                  <a:lnTo>
                    <a:pt x="566" y="109"/>
                  </a:lnTo>
                  <a:lnTo>
                    <a:pt x="575" y="97"/>
                  </a:lnTo>
                  <a:lnTo>
                    <a:pt x="587" y="87"/>
                  </a:lnTo>
                  <a:lnTo>
                    <a:pt x="598" y="77"/>
                  </a:lnTo>
                  <a:lnTo>
                    <a:pt x="613" y="68"/>
                  </a:lnTo>
                  <a:lnTo>
                    <a:pt x="626" y="58"/>
                  </a:lnTo>
                  <a:lnTo>
                    <a:pt x="641" y="49"/>
                  </a:lnTo>
                  <a:lnTo>
                    <a:pt x="657" y="42"/>
                  </a:lnTo>
                  <a:lnTo>
                    <a:pt x="672" y="34"/>
                  </a:lnTo>
                  <a:lnTo>
                    <a:pt x="689" y="27"/>
                  </a:lnTo>
                  <a:lnTo>
                    <a:pt x="708" y="21"/>
                  </a:lnTo>
                  <a:lnTo>
                    <a:pt x="724" y="16"/>
                  </a:lnTo>
                  <a:lnTo>
                    <a:pt x="743" y="10"/>
                  </a:lnTo>
                  <a:lnTo>
                    <a:pt x="759" y="6"/>
                  </a:lnTo>
                  <a:lnTo>
                    <a:pt x="778" y="4"/>
                  </a:lnTo>
                  <a:lnTo>
                    <a:pt x="796" y="1"/>
                  </a:lnTo>
                  <a:lnTo>
                    <a:pt x="813" y="0"/>
                  </a:lnTo>
                  <a:lnTo>
                    <a:pt x="831" y="0"/>
                  </a:lnTo>
                  <a:lnTo>
                    <a:pt x="848" y="1"/>
                  </a:lnTo>
                  <a:lnTo>
                    <a:pt x="865" y="3"/>
                  </a:lnTo>
                  <a:lnTo>
                    <a:pt x="880" y="5"/>
                  </a:lnTo>
                  <a:lnTo>
                    <a:pt x="896" y="9"/>
                  </a:lnTo>
                  <a:lnTo>
                    <a:pt x="910" y="16"/>
                  </a:lnTo>
                  <a:lnTo>
                    <a:pt x="924" y="22"/>
                  </a:lnTo>
                  <a:lnTo>
                    <a:pt x="937" y="30"/>
                  </a:lnTo>
                  <a:lnTo>
                    <a:pt x="949" y="39"/>
                  </a:lnTo>
                  <a:lnTo>
                    <a:pt x="959" y="49"/>
                  </a:lnTo>
                  <a:lnTo>
                    <a:pt x="971" y="45"/>
                  </a:lnTo>
                  <a:lnTo>
                    <a:pt x="983" y="42"/>
                  </a:lnTo>
                  <a:lnTo>
                    <a:pt x="993" y="39"/>
                  </a:lnTo>
                  <a:lnTo>
                    <a:pt x="1004" y="38"/>
                  </a:lnTo>
                  <a:lnTo>
                    <a:pt x="1014" y="38"/>
                  </a:lnTo>
                  <a:lnTo>
                    <a:pt x="1023" y="38"/>
                  </a:lnTo>
                  <a:lnTo>
                    <a:pt x="1032" y="39"/>
                  </a:lnTo>
                  <a:lnTo>
                    <a:pt x="1041" y="40"/>
                  </a:lnTo>
                  <a:lnTo>
                    <a:pt x="1049" y="43"/>
                  </a:lnTo>
                  <a:lnTo>
                    <a:pt x="1057" y="47"/>
                  </a:lnTo>
                  <a:lnTo>
                    <a:pt x="1065" y="51"/>
                  </a:lnTo>
                  <a:lnTo>
                    <a:pt x="1072" y="55"/>
                  </a:lnTo>
                  <a:lnTo>
                    <a:pt x="1085" y="66"/>
                  </a:lnTo>
                  <a:lnTo>
                    <a:pt x="1097" y="81"/>
                  </a:lnTo>
                  <a:lnTo>
                    <a:pt x="1107" y="97"/>
                  </a:lnTo>
                  <a:lnTo>
                    <a:pt x="1116" y="116"/>
                  </a:lnTo>
                  <a:lnTo>
                    <a:pt x="1124" y="135"/>
                  </a:lnTo>
                  <a:lnTo>
                    <a:pt x="1131" y="157"/>
                  </a:lnTo>
                  <a:lnTo>
                    <a:pt x="1135" y="181"/>
                  </a:lnTo>
                  <a:lnTo>
                    <a:pt x="1139" y="205"/>
                  </a:lnTo>
                  <a:lnTo>
                    <a:pt x="1140" y="230"/>
                  </a:lnTo>
                  <a:lnTo>
                    <a:pt x="1141" y="257"/>
                  </a:lnTo>
                  <a:lnTo>
                    <a:pt x="1141" y="397"/>
                  </a:lnTo>
                  <a:lnTo>
                    <a:pt x="1140" y="413"/>
                  </a:lnTo>
                  <a:lnTo>
                    <a:pt x="1139" y="427"/>
                  </a:lnTo>
                  <a:lnTo>
                    <a:pt x="1137" y="442"/>
                  </a:lnTo>
                  <a:lnTo>
                    <a:pt x="1133" y="455"/>
                  </a:lnTo>
                  <a:lnTo>
                    <a:pt x="1129" y="468"/>
                  </a:lnTo>
                  <a:lnTo>
                    <a:pt x="1126" y="481"/>
                  </a:lnTo>
                  <a:lnTo>
                    <a:pt x="1120" y="492"/>
                  </a:lnTo>
                  <a:lnTo>
                    <a:pt x="1114" y="504"/>
                  </a:lnTo>
                  <a:close/>
                  <a:moveTo>
                    <a:pt x="619" y="313"/>
                  </a:moveTo>
                  <a:lnTo>
                    <a:pt x="619" y="313"/>
                  </a:lnTo>
                  <a:lnTo>
                    <a:pt x="615" y="329"/>
                  </a:lnTo>
                  <a:lnTo>
                    <a:pt x="613" y="346"/>
                  </a:lnTo>
                  <a:lnTo>
                    <a:pt x="611" y="362"/>
                  </a:lnTo>
                  <a:lnTo>
                    <a:pt x="611" y="379"/>
                  </a:lnTo>
                  <a:lnTo>
                    <a:pt x="611" y="455"/>
                  </a:lnTo>
                  <a:lnTo>
                    <a:pt x="611" y="471"/>
                  </a:lnTo>
                  <a:lnTo>
                    <a:pt x="613" y="488"/>
                  </a:lnTo>
                  <a:lnTo>
                    <a:pt x="615" y="505"/>
                  </a:lnTo>
                  <a:lnTo>
                    <a:pt x="619" y="522"/>
                  </a:lnTo>
                  <a:lnTo>
                    <a:pt x="623" y="538"/>
                  </a:lnTo>
                  <a:lnTo>
                    <a:pt x="628" y="553"/>
                  </a:lnTo>
                  <a:lnTo>
                    <a:pt x="635" y="569"/>
                  </a:lnTo>
                  <a:lnTo>
                    <a:pt x="641" y="583"/>
                  </a:lnTo>
                  <a:lnTo>
                    <a:pt x="649" y="597"/>
                  </a:lnTo>
                  <a:lnTo>
                    <a:pt x="657" y="610"/>
                  </a:lnTo>
                  <a:lnTo>
                    <a:pt x="667" y="625"/>
                  </a:lnTo>
                  <a:lnTo>
                    <a:pt x="676" y="636"/>
                  </a:lnTo>
                  <a:lnTo>
                    <a:pt x="688" y="648"/>
                  </a:lnTo>
                  <a:lnTo>
                    <a:pt x="698" y="659"/>
                  </a:lnTo>
                  <a:lnTo>
                    <a:pt x="711" y="669"/>
                  </a:lnTo>
                  <a:lnTo>
                    <a:pt x="723" y="678"/>
                  </a:lnTo>
                  <a:lnTo>
                    <a:pt x="736" y="686"/>
                  </a:lnTo>
                  <a:lnTo>
                    <a:pt x="750" y="694"/>
                  </a:lnTo>
                  <a:lnTo>
                    <a:pt x="763" y="699"/>
                  </a:lnTo>
                  <a:lnTo>
                    <a:pt x="778" y="704"/>
                  </a:lnTo>
                  <a:lnTo>
                    <a:pt x="793" y="708"/>
                  </a:lnTo>
                  <a:lnTo>
                    <a:pt x="808" y="712"/>
                  </a:lnTo>
                  <a:lnTo>
                    <a:pt x="823" y="713"/>
                  </a:lnTo>
                  <a:lnTo>
                    <a:pt x="839" y="713"/>
                  </a:lnTo>
                  <a:lnTo>
                    <a:pt x="854" y="713"/>
                  </a:lnTo>
                  <a:lnTo>
                    <a:pt x="869" y="712"/>
                  </a:lnTo>
                  <a:lnTo>
                    <a:pt x="884" y="708"/>
                  </a:lnTo>
                  <a:lnTo>
                    <a:pt x="898" y="704"/>
                  </a:lnTo>
                  <a:lnTo>
                    <a:pt x="913" y="699"/>
                  </a:lnTo>
                  <a:lnTo>
                    <a:pt x="927" y="694"/>
                  </a:lnTo>
                  <a:lnTo>
                    <a:pt x="940" y="686"/>
                  </a:lnTo>
                  <a:lnTo>
                    <a:pt x="953" y="678"/>
                  </a:lnTo>
                  <a:lnTo>
                    <a:pt x="966" y="669"/>
                  </a:lnTo>
                  <a:lnTo>
                    <a:pt x="978" y="660"/>
                  </a:lnTo>
                  <a:lnTo>
                    <a:pt x="988" y="648"/>
                  </a:lnTo>
                  <a:lnTo>
                    <a:pt x="1000" y="638"/>
                  </a:lnTo>
                  <a:lnTo>
                    <a:pt x="1009" y="625"/>
                  </a:lnTo>
                  <a:lnTo>
                    <a:pt x="1019" y="612"/>
                  </a:lnTo>
                  <a:lnTo>
                    <a:pt x="1027" y="599"/>
                  </a:lnTo>
                  <a:lnTo>
                    <a:pt x="1035" y="584"/>
                  </a:lnTo>
                  <a:lnTo>
                    <a:pt x="1042" y="569"/>
                  </a:lnTo>
                  <a:lnTo>
                    <a:pt x="1048" y="555"/>
                  </a:lnTo>
                  <a:lnTo>
                    <a:pt x="1053" y="539"/>
                  </a:lnTo>
                  <a:lnTo>
                    <a:pt x="1058" y="523"/>
                  </a:lnTo>
                  <a:lnTo>
                    <a:pt x="1061" y="507"/>
                  </a:lnTo>
                  <a:lnTo>
                    <a:pt x="1063" y="490"/>
                  </a:lnTo>
                  <a:lnTo>
                    <a:pt x="1065" y="471"/>
                  </a:lnTo>
                  <a:lnTo>
                    <a:pt x="1066" y="455"/>
                  </a:lnTo>
                  <a:lnTo>
                    <a:pt x="1066" y="379"/>
                  </a:lnTo>
                  <a:lnTo>
                    <a:pt x="1065" y="349"/>
                  </a:lnTo>
                  <a:lnTo>
                    <a:pt x="1059" y="320"/>
                  </a:lnTo>
                  <a:lnTo>
                    <a:pt x="1053" y="292"/>
                  </a:lnTo>
                  <a:lnTo>
                    <a:pt x="1042" y="266"/>
                  </a:lnTo>
                  <a:lnTo>
                    <a:pt x="1031" y="242"/>
                  </a:lnTo>
                  <a:lnTo>
                    <a:pt x="1017" y="218"/>
                  </a:lnTo>
                  <a:lnTo>
                    <a:pt x="1001" y="197"/>
                  </a:lnTo>
                  <a:lnTo>
                    <a:pt x="983" y="179"/>
                  </a:lnTo>
                  <a:lnTo>
                    <a:pt x="940" y="200"/>
                  </a:lnTo>
                  <a:lnTo>
                    <a:pt x="896" y="221"/>
                  </a:lnTo>
                  <a:lnTo>
                    <a:pt x="850" y="239"/>
                  </a:lnTo>
                  <a:lnTo>
                    <a:pt x="806" y="256"/>
                  </a:lnTo>
                  <a:lnTo>
                    <a:pt x="759" y="273"/>
                  </a:lnTo>
                  <a:lnTo>
                    <a:pt x="714" y="287"/>
                  </a:lnTo>
                  <a:lnTo>
                    <a:pt x="666" y="300"/>
                  </a:lnTo>
                  <a:lnTo>
                    <a:pt x="619" y="31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808080"/>
                </a:solidFill>
                <a:latin typeface="+mn-lt"/>
              </a:endParaRP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6413781" y="1668335"/>
            <a:ext cx="2743168" cy="1379743"/>
            <a:chOff x="5468002" y="1200600"/>
            <a:chExt cx="2743168" cy="1379743"/>
          </a:xfrm>
        </p:grpSpPr>
        <p:sp>
          <p:nvSpPr>
            <p:cNvPr id="24" name="TextBox 23"/>
            <p:cNvSpPr txBox="1"/>
            <p:nvPr/>
          </p:nvSpPr>
          <p:spPr>
            <a:xfrm>
              <a:off x="5468002" y="1200600"/>
              <a:ext cx="2743168" cy="1379743"/>
            </a:xfrm>
            <a:prstGeom prst="rect">
              <a:avLst/>
            </a:prstGeom>
            <a:solidFill>
              <a:srgbClr val="FBEAA2"/>
            </a:solidFill>
          </p:spPr>
          <p:txBody>
            <a:bodyPr wrap="square" rtlCol="0" anchor="b">
              <a:noAutofit/>
            </a:bodyPr>
            <a:lstStyle/>
            <a:p>
              <a:pPr algn="ctr"/>
              <a:r>
                <a:rPr lang="ru-RU" dirty="0">
                  <a:solidFill>
                    <a:srgbClr val="808080"/>
                  </a:solidFill>
                </a:rPr>
                <a:t>Векселедержатель 1</a:t>
              </a:r>
            </a:p>
          </p:txBody>
        </p:sp>
        <p:sp>
          <p:nvSpPr>
            <p:cNvPr id="25" name="Freeform 100"/>
            <p:cNvSpPr>
              <a:spLocks noChangeAspect="1" noEditPoints="1"/>
            </p:cNvSpPr>
            <p:nvPr/>
          </p:nvSpPr>
          <p:spPr bwMode="auto">
            <a:xfrm>
              <a:off x="6690361" y="1354252"/>
              <a:ext cx="298450" cy="766763"/>
            </a:xfrm>
            <a:custGeom>
              <a:avLst/>
              <a:gdLst>
                <a:gd name="T0" fmla="*/ 2147483647 w 1850"/>
                <a:gd name="T1" fmla="*/ 2147483647 h 4763"/>
                <a:gd name="T2" fmla="*/ 0 w 1850"/>
                <a:gd name="T3" fmla="*/ 2147483647 h 4763"/>
                <a:gd name="T4" fmla="*/ 2147483647 w 1850"/>
                <a:gd name="T5" fmla="*/ 2147483647 h 4763"/>
                <a:gd name="T6" fmla="*/ 2147483647 w 1850"/>
                <a:gd name="T7" fmla="*/ 2147483647 h 4763"/>
                <a:gd name="T8" fmla="*/ 2147483647 w 1850"/>
                <a:gd name="T9" fmla="*/ 2147483647 h 4763"/>
                <a:gd name="T10" fmla="*/ 2147483647 w 1850"/>
                <a:gd name="T11" fmla="*/ 2147483647 h 4763"/>
                <a:gd name="T12" fmla="*/ 2147483647 w 1850"/>
                <a:gd name="T13" fmla="*/ 2147483647 h 4763"/>
                <a:gd name="T14" fmla="*/ 2147483647 w 1850"/>
                <a:gd name="T15" fmla="*/ 2147483647 h 4763"/>
                <a:gd name="T16" fmla="*/ 2147483647 w 1850"/>
                <a:gd name="T17" fmla="*/ 2147483647 h 4763"/>
                <a:gd name="T18" fmla="*/ 2147483647 w 1850"/>
                <a:gd name="T19" fmla="*/ 2147483647 h 4763"/>
                <a:gd name="T20" fmla="*/ 2147483647 w 1850"/>
                <a:gd name="T21" fmla="*/ 2147483647 h 4763"/>
                <a:gd name="T22" fmla="*/ 2147483647 w 1850"/>
                <a:gd name="T23" fmla="*/ 2147483647 h 4763"/>
                <a:gd name="T24" fmla="*/ 2147483647 w 1850"/>
                <a:gd name="T25" fmla="*/ 2147483647 h 4763"/>
                <a:gd name="T26" fmla="*/ 2147483647 w 1850"/>
                <a:gd name="T27" fmla="*/ 2147483647 h 4763"/>
                <a:gd name="T28" fmla="*/ 2147483647 w 1850"/>
                <a:gd name="T29" fmla="*/ 2147483647 h 4763"/>
                <a:gd name="T30" fmla="*/ 2147483647 w 1850"/>
                <a:gd name="T31" fmla="*/ 2147483647 h 4763"/>
                <a:gd name="T32" fmla="*/ 2147483647 w 1850"/>
                <a:gd name="T33" fmla="*/ 2147483647 h 4763"/>
                <a:gd name="T34" fmla="*/ 2147483647 w 1850"/>
                <a:gd name="T35" fmla="*/ 2147483647 h 4763"/>
                <a:gd name="T36" fmla="*/ 2147483647 w 1850"/>
                <a:gd name="T37" fmla="*/ 2147483647 h 4763"/>
                <a:gd name="T38" fmla="*/ 2147483647 w 1850"/>
                <a:gd name="T39" fmla="*/ 2147483647 h 4763"/>
                <a:gd name="T40" fmla="*/ 2147483647 w 1850"/>
                <a:gd name="T41" fmla="*/ 2147483647 h 4763"/>
                <a:gd name="T42" fmla="*/ 2147483647 w 1850"/>
                <a:gd name="T43" fmla="*/ 2147483647 h 4763"/>
                <a:gd name="T44" fmla="*/ 2147483647 w 1850"/>
                <a:gd name="T45" fmla="*/ 2147483647 h 4763"/>
                <a:gd name="T46" fmla="*/ 2147483647 w 1850"/>
                <a:gd name="T47" fmla="*/ 2147483647 h 4763"/>
                <a:gd name="T48" fmla="*/ 2147483647 w 1850"/>
                <a:gd name="T49" fmla="*/ 2147483647 h 4763"/>
                <a:gd name="T50" fmla="*/ 2147483647 w 1850"/>
                <a:gd name="T51" fmla="*/ 2147483647 h 4763"/>
                <a:gd name="T52" fmla="*/ 2147483647 w 1850"/>
                <a:gd name="T53" fmla="*/ 2147483647 h 4763"/>
                <a:gd name="T54" fmla="*/ 2147483647 w 1850"/>
                <a:gd name="T55" fmla="*/ 2147483647 h 4763"/>
                <a:gd name="T56" fmla="*/ 2147483647 w 1850"/>
                <a:gd name="T57" fmla="*/ 2147483647 h 4763"/>
                <a:gd name="T58" fmla="*/ 2147483647 w 1850"/>
                <a:gd name="T59" fmla="*/ 2147483647 h 4763"/>
                <a:gd name="T60" fmla="*/ 2147483647 w 1850"/>
                <a:gd name="T61" fmla="*/ 2147483647 h 4763"/>
                <a:gd name="T62" fmla="*/ 2147483647 w 1850"/>
                <a:gd name="T63" fmla="*/ 2147483647 h 4763"/>
                <a:gd name="T64" fmla="*/ 2147483647 w 1850"/>
                <a:gd name="T65" fmla="*/ 2147483647 h 4763"/>
                <a:gd name="T66" fmla="*/ 2147483647 w 1850"/>
                <a:gd name="T67" fmla="*/ 2147483647 h 4763"/>
                <a:gd name="T68" fmla="*/ 2147483647 w 1850"/>
                <a:gd name="T69" fmla="*/ 2147483647 h 4763"/>
                <a:gd name="T70" fmla="*/ 2147483647 w 1850"/>
                <a:gd name="T71" fmla="*/ 2147483647 h 4763"/>
                <a:gd name="T72" fmla="*/ 2147483647 w 1850"/>
                <a:gd name="T73" fmla="*/ 2147483647 h 4763"/>
                <a:gd name="T74" fmla="*/ 2147483647 w 1850"/>
                <a:gd name="T75" fmla="*/ 2147483647 h 4763"/>
                <a:gd name="T76" fmla="*/ 2147483647 w 1850"/>
                <a:gd name="T77" fmla="*/ 2147483647 h 4763"/>
                <a:gd name="T78" fmla="*/ 2147483647 w 1850"/>
                <a:gd name="T79" fmla="*/ 2147483647 h 4763"/>
                <a:gd name="T80" fmla="*/ 2147483647 w 1850"/>
                <a:gd name="T81" fmla="*/ 2147483647 h 4763"/>
                <a:gd name="T82" fmla="*/ 2147483647 w 1850"/>
                <a:gd name="T83" fmla="*/ 2147483647 h 4763"/>
                <a:gd name="T84" fmla="*/ 2147483647 w 1850"/>
                <a:gd name="T85" fmla="*/ 2147483647 h 4763"/>
                <a:gd name="T86" fmla="*/ 2147483647 w 1850"/>
                <a:gd name="T87" fmla="*/ 2147483647 h 4763"/>
                <a:gd name="T88" fmla="*/ 2147483647 w 1850"/>
                <a:gd name="T89" fmla="*/ 2147483647 h 4763"/>
                <a:gd name="T90" fmla="*/ 2147483647 w 1850"/>
                <a:gd name="T91" fmla="*/ 2147483647 h 4763"/>
                <a:gd name="T92" fmla="*/ 2147483647 w 1850"/>
                <a:gd name="T93" fmla="*/ 2147483647 h 4763"/>
                <a:gd name="T94" fmla="*/ 2147483647 w 1850"/>
                <a:gd name="T95" fmla="*/ 2147483647 h 4763"/>
                <a:gd name="T96" fmla="*/ 2147483647 w 1850"/>
                <a:gd name="T97" fmla="*/ 2147483647 h 4763"/>
                <a:gd name="T98" fmla="*/ 2147483647 w 1850"/>
                <a:gd name="T99" fmla="*/ 2147483647 h 4763"/>
                <a:gd name="T100" fmla="*/ 2147483647 w 1850"/>
                <a:gd name="T101" fmla="*/ 2147483647 h 4763"/>
                <a:gd name="T102" fmla="*/ 2147483647 w 1850"/>
                <a:gd name="T103" fmla="*/ 2147483647 h 4763"/>
                <a:gd name="T104" fmla="*/ 2147483647 w 1850"/>
                <a:gd name="T105" fmla="*/ 2147483647 h 4763"/>
                <a:gd name="T106" fmla="*/ 2147483647 w 1850"/>
                <a:gd name="T107" fmla="*/ 2147483647 h 4763"/>
                <a:gd name="T108" fmla="*/ 2147483647 w 1850"/>
                <a:gd name="T109" fmla="*/ 2147483647 h 4763"/>
                <a:gd name="T110" fmla="*/ 2147483647 w 1850"/>
                <a:gd name="T111" fmla="*/ 2147483647 h 4763"/>
                <a:gd name="T112" fmla="*/ 2147483647 w 1850"/>
                <a:gd name="T113" fmla="*/ 2147483647 h 4763"/>
                <a:gd name="T114" fmla="*/ 2147483647 w 1850"/>
                <a:gd name="T115" fmla="*/ 2147483647 h 4763"/>
                <a:gd name="T116" fmla="*/ 2147483647 w 1850"/>
                <a:gd name="T117" fmla="*/ 2147483647 h 4763"/>
                <a:gd name="T118" fmla="*/ 2147483647 w 1850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50"/>
                <a:gd name="T181" fmla="*/ 0 h 4763"/>
                <a:gd name="T182" fmla="*/ 1850 w 1850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50" h="4763">
                  <a:moveTo>
                    <a:pt x="352" y="3267"/>
                  </a:moveTo>
                  <a:lnTo>
                    <a:pt x="153" y="3107"/>
                  </a:lnTo>
                  <a:lnTo>
                    <a:pt x="70" y="2776"/>
                  </a:lnTo>
                  <a:lnTo>
                    <a:pt x="123" y="2776"/>
                  </a:lnTo>
                  <a:lnTo>
                    <a:pt x="200" y="3077"/>
                  </a:lnTo>
                  <a:lnTo>
                    <a:pt x="348" y="3198"/>
                  </a:lnTo>
                  <a:lnTo>
                    <a:pt x="326" y="2724"/>
                  </a:lnTo>
                  <a:lnTo>
                    <a:pt x="271" y="2724"/>
                  </a:lnTo>
                  <a:lnTo>
                    <a:pt x="110" y="2724"/>
                  </a:lnTo>
                  <a:lnTo>
                    <a:pt x="57" y="2724"/>
                  </a:lnTo>
                  <a:lnTo>
                    <a:pt x="0" y="2724"/>
                  </a:lnTo>
                  <a:lnTo>
                    <a:pt x="0" y="1160"/>
                  </a:lnTo>
                  <a:lnTo>
                    <a:pt x="0" y="1139"/>
                  </a:lnTo>
                  <a:lnTo>
                    <a:pt x="4" y="1121"/>
                  </a:lnTo>
                  <a:lnTo>
                    <a:pt x="9" y="1103"/>
                  </a:lnTo>
                  <a:lnTo>
                    <a:pt x="16" y="1087"/>
                  </a:lnTo>
                  <a:lnTo>
                    <a:pt x="23" y="1073"/>
                  </a:lnTo>
                  <a:lnTo>
                    <a:pt x="34" y="1059"/>
                  </a:lnTo>
                  <a:lnTo>
                    <a:pt x="45" y="1047"/>
                  </a:lnTo>
                  <a:lnTo>
                    <a:pt x="57" y="1035"/>
                  </a:lnTo>
                  <a:lnTo>
                    <a:pt x="71" y="1025"/>
                  </a:lnTo>
                  <a:lnTo>
                    <a:pt x="87" y="1016"/>
                  </a:lnTo>
                  <a:lnTo>
                    <a:pt x="103" y="1007"/>
                  </a:lnTo>
                  <a:lnTo>
                    <a:pt x="121" y="998"/>
                  </a:lnTo>
                  <a:lnTo>
                    <a:pt x="157" y="982"/>
                  </a:lnTo>
                  <a:lnTo>
                    <a:pt x="196" y="968"/>
                  </a:lnTo>
                  <a:lnTo>
                    <a:pt x="592" y="823"/>
                  </a:lnTo>
                  <a:lnTo>
                    <a:pt x="719" y="1576"/>
                  </a:lnTo>
                  <a:lnTo>
                    <a:pt x="780" y="1033"/>
                  </a:lnTo>
                  <a:lnTo>
                    <a:pt x="766" y="1025"/>
                  </a:lnTo>
                  <a:lnTo>
                    <a:pt x="753" y="1016"/>
                  </a:lnTo>
                  <a:lnTo>
                    <a:pt x="741" y="1004"/>
                  </a:lnTo>
                  <a:lnTo>
                    <a:pt x="732" y="991"/>
                  </a:lnTo>
                  <a:lnTo>
                    <a:pt x="831" y="898"/>
                  </a:lnTo>
                  <a:lnTo>
                    <a:pt x="930" y="991"/>
                  </a:lnTo>
                  <a:lnTo>
                    <a:pt x="920" y="1004"/>
                  </a:lnTo>
                  <a:lnTo>
                    <a:pt x="909" y="1016"/>
                  </a:lnTo>
                  <a:lnTo>
                    <a:pt x="897" y="1025"/>
                  </a:lnTo>
                  <a:lnTo>
                    <a:pt x="883" y="1033"/>
                  </a:lnTo>
                  <a:lnTo>
                    <a:pt x="943" y="1576"/>
                  </a:lnTo>
                  <a:lnTo>
                    <a:pt x="1070" y="823"/>
                  </a:lnTo>
                  <a:lnTo>
                    <a:pt x="1466" y="968"/>
                  </a:lnTo>
                  <a:lnTo>
                    <a:pt x="1505" y="982"/>
                  </a:lnTo>
                  <a:lnTo>
                    <a:pt x="1540" y="998"/>
                  </a:lnTo>
                  <a:lnTo>
                    <a:pt x="1555" y="1007"/>
                  </a:lnTo>
                  <a:lnTo>
                    <a:pt x="1571" y="1016"/>
                  </a:lnTo>
                  <a:lnTo>
                    <a:pt x="1584" y="1025"/>
                  </a:lnTo>
                  <a:lnTo>
                    <a:pt x="1597" y="1037"/>
                  </a:lnTo>
                  <a:lnTo>
                    <a:pt x="1610" y="1047"/>
                  </a:lnTo>
                  <a:lnTo>
                    <a:pt x="1620" y="1060"/>
                  </a:lnTo>
                  <a:lnTo>
                    <a:pt x="1631" y="1073"/>
                  </a:lnTo>
                  <a:lnTo>
                    <a:pt x="1638" y="1087"/>
                  </a:lnTo>
                  <a:lnTo>
                    <a:pt x="1646" y="1104"/>
                  </a:lnTo>
                  <a:lnTo>
                    <a:pt x="1653" y="1121"/>
                  </a:lnTo>
                  <a:lnTo>
                    <a:pt x="1658" y="1139"/>
                  </a:lnTo>
                  <a:lnTo>
                    <a:pt x="1663" y="1160"/>
                  </a:lnTo>
                  <a:lnTo>
                    <a:pt x="1842" y="2208"/>
                  </a:lnTo>
                  <a:lnTo>
                    <a:pt x="1422" y="2208"/>
                  </a:lnTo>
                  <a:lnTo>
                    <a:pt x="1449" y="2260"/>
                  </a:lnTo>
                  <a:lnTo>
                    <a:pt x="1850" y="2260"/>
                  </a:lnTo>
                  <a:lnTo>
                    <a:pt x="1850" y="2321"/>
                  </a:lnTo>
                  <a:lnTo>
                    <a:pt x="1733" y="2321"/>
                  </a:lnTo>
                  <a:lnTo>
                    <a:pt x="1422" y="2321"/>
                  </a:lnTo>
                  <a:lnTo>
                    <a:pt x="1340" y="2163"/>
                  </a:lnTo>
                  <a:lnTo>
                    <a:pt x="1333" y="2154"/>
                  </a:lnTo>
                  <a:lnTo>
                    <a:pt x="1328" y="2144"/>
                  </a:lnTo>
                  <a:lnTo>
                    <a:pt x="1322" y="2137"/>
                  </a:lnTo>
                  <a:lnTo>
                    <a:pt x="1315" y="2130"/>
                  </a:lnTo>
                  <a:lnTo>
                    <a:pt x="1301" y="2118"/>
                  </a:lnTo>
                  <a:lnTo>
                    <a:pt x="1287" y="2111"/>
                  </a:lnTo>
                  <a:lnTo>
                    <a:pt x="1272" y="2105"/>
                  </a:lnTo>
                  <a:lnTo>
                    <a:pt x="1258" y="2103"/>
                  </a:lnTo>
                  <a:lnTo>
                    <a:pt x="1244" y="2102"/>
                  </a:lnTo>
                  <a:lnTo>
                    <a:pt x="1229" y="2104"/>
                  </a:lnTo>
                  <a:lnTo>
                    <a:pt x="1215" y="2107"/>
                  </a:lnTo>
                  <a:lnTo>
                    <a:pt x="1203" y="2111"/>
                  </a:lnTo>
                  <a:lnTo>
                    <a:pt x="1192" y="2116"/>
                  </a:lnTo>
                  <a:lnTo>
                    <a:pt x="1183" y="2122"/>
                  </a:lnTo>
                  <a:lnTo>
                    <a:pt x="1174" y="2129"/>
                  </a:lnTo>
                  <a:lnTo>
                    <a:pt x="1168" y="2135"/>
                  </a:lnTo>
                  <a:lnTo>
                    <a:pt x="1165" y="2141"/>
                  </a:lnTo>
                  <a:lnTo>
                    <a:pt x="1162" y="2147"/>
                  </a:lnTo>
                  <a:lnTo>
                    <a:pt x="1157" y="2387"/>
                  </a:lnTo>
                  <a:lnTo>
                    <a:pt x="1157" y="2402"/>
                  </a:lnTo>
                  <a:lnTo>
                    <a:pt x="1159" y="2415"/>
                  </a:lnTo>
                  <a:lnTo>
                    <a:pt x="1162" y="2428"/>
                  </a:lnTo>
                  <a:lnTo>
                    <a:pt x="1166" y="2439"/>
                  </a:lnTo>
                  <a:lnTo>
                    <a:pt x="1171" y="2450"/>
                  </a:lnTo>
                  <a:lnTo>
                    <a:pt x="1176" y="2460"/>
                  </a:lnTo>
                  <a:lnTo>
                    <a:pt x="1184" y="2469"/>
                  </a:lnTo>
                  <a:lnTo>
                    <a:pt x="1192" y="2478"/>
                  </a:lnTo>
                  <a:lnTo>
                    <a:pt x="1200" y="2486"/>
                  </a:lnTo>
                  <a:lnTo>
                    <a:pt x="1210" y="2494"/>
                  </a:lnTo>
                  <a:lnTo>
                    <a:pt x="1220" y="2500"/>
                  </a:lnTo>
                  <a:lnTo>
                    <a:pt x="1231" y="2506"/>
                  </a:lnTo>
                  <a:lnTo>
                    <a:pt x="1242" y="2511"/>
                  </a:lnTo>
                  <a:lnTo>
                    <a:pt x="1254" y="2516"/>
                  </a:lnTo>
                  <a:lnTo>
                    <a:pt x="1279" y="2522"/>
                  </a:lnTo>
                  <a:lnTo>
                    <a:pt x="1305" y="2526"/>
                  </a:lnTo>
                  <a:lnTo>
                    <a:pt x="1332" y="2528"/>
                  </a:lnTo>
                  <a:lnTo>
                    <a:pt x="1359" y="2526"/>
                  </a:lnTo>
                  <a:lnTo>
                    <a:pt x="1385" y="2522"/>
                  </a:lnTo>
                  <a:lnTo>
                    <a:pt x="1411" y="2515"/>
                  </a:lnTo>
                  <a:lnTo>
                    <a:pt x="1437" y="2506"/>
                  </a:lnTo>
                  <a:lnTo>
                    <a:pt x="1459" y="2495"/>
                  </a:lnTo>
                  <a:lnTo>
                    <a:pt x="1471" y="2489"/>
                  </a:lnTo>
                  <a:lnTo>
                    <a:pt x="1480" y="2481"/>
                  </a:lnTo>
                  <a:lnTo>
                    <a:pt x="1620" y="2373"/>
                  </a:lnTo>
                  <a:lnTo>
                    <a:pt x="1705" y="2373"/>
                  </a:lnTo>
                  <a:lnTo>
                    <a:pt x="1512" y="2522"/>
                  </a:lnTo>
                  <a:lnTo>
                    <a:pt x="1498" y="2532"/>
                  </a:lnTo>
                  <a:lnTo>
                    <a:pt x="1483" y="2541"/>
                  </a:lnTo>
                  <a:lnTo>
                    <a:pt x="1464" y="2548"/>
                  </a:lnTo>
                  <a:lnTo>
                    <a:pt x="1446" y="2556"/>
                  </a:lnTo>
                  <a:lnTo>
                    <a:pt x="1345" y="4763"/>
                  </a:lnTo>
                  <a:lnTo>
                    <a:pt x="909" y="4763"/>
                  </a:lnTo>
                  <a:lnTo>
                    <a:pt x="909" y="2771"/>
                  </a:lnTo>
                  <a:lnTo>
                    <a:pt x="857" y="2771"/>
                  </a:lnTo>
                  <a:lnTo>
                    <a:pt x="857" y="4763"/>
                  </a:lnTo>
                  <a:lnTo>
                    <a:pt x="421" y="4763"/>
                  </a:lnTo>
                  <a:lnTo>
                    <a:pt x="352" y="3267"/>
                  </a:lnTo>
                  <a:close/>
                  <a:moveTo>
                    <a:pt x="1106" y="2321"/>
                  </a:moveTo>
                  <a:lnTo>
                    <a:pt x="645" y="2321"/>
                  </a:lnTo>
                  <a:lnTo>
                    <a:pt x="645" y="2372"/>
                  </a:lnTo>
                  <a:lnTo>
                    <a:pt x="1105" y="2372"/>
                  </a:lnTo>
                  <a:lnTo>
                    <a:pt x="1106" y="2321"/>
                  </a:lnTo>
                  <a:close/>
                  <a:moveTo>
                    <a:pt x="1109" y="2208"/>
                  </a:moveTo>
                  <a:lnTo>
                    <a:pt x="645" y="2208"/>
                  </a:lnTo>
                  <a:lnTo>
                    <a:pt x="645" y="2260"/>
                  </a:lnTo>
                  <a:lnTo>
                    <a:pt x="1107" y="2260"/>
                  </a:lnTo>
                  <a:lnTo>
                    <a:pt x="1109" y="2208"/>
                  </a:lnTo>
                  <a:close/>
                  <a:moveTo>
                    <a:pt x="1393" y="2152"/>
                  </a:moveTo>
                  <a:lnTo>
                    <a:pt x="1773" y="2152"/>
                  </a:lnTo>
                  <a:lnTo>
                    <a:pt x="1606" y="1820"/>
                  </a:lnTo>
                  <a:lnTo>
                    <a:pt x="660" y="1820"/>
                  </a:lnTo>
                  <a:lnTo>
                    <a:pt x="640" y="2152"/>
                  </a:lnTo>
                  <a:lnTo>
                    <a:pt x="1110" y="2152"/>
                  </a:lnTo>
                  <a:lnTo>
                    <a:pt x="1110" y="2146"/>
                  </a:lnTo>
                  <a:lnTo>
                    <a:pt x="1111" y="2134"/>
                  </a:lnTo>
                  <a:lnTo>
                    <a:pt x="1114" y="2124"/>
                  </a:lnTo>
                  <a:lnTo>
                    <a:pt x="1116" y="2115"/>
                  </a:lnTo>
                  <a:lnTo>
                    <a:pt x="1120" y="2105"/>
                  </a:lnTo>
                  <a:lnTo>
                    <a:pt x="1126" y="2096"/>
                  </a:lnTo>
                  <a:lnTo>
                    <a:pt x="1132" y="2089"/>
                  </a:lnTo>
                  <a:lnTo>
                    <a:pt x="1139" y="2082"/>
                  </a:lnTo>
                  <a:lnTo>
                    <a:pt x="1146" y="2076"/>
                  </a:lnTo>
                  <a:lnTo>
                    <a:pt x="1154" y="2070"/>
                  </a:lnTo>
                  <a:lnTo>
                    <a:pt x="1163" y="2065"/>
                  </a:lnTo>
                  <a:lnTo>
                    <a:pt x="1172" y="2061"/>
                  </a:lnTo>
                  <a:lnTo>
                    <a:pt x="1183" y="2059"/>
                  </a:lnTo>
                  <a:lnTo>
                    <a:pt x="1203" y="2054"/>
                  </a:lnTo>
                  <a:lnTo>
                    <a:pt x="1226" y="2052"/>
                  </a:lnTo>
                  <a:lnTo>
                    <a:pt x="1249" y="2054"/>
                  </a:lnTo>
                  <a:lnTo>
                    <a:pt x="1271" y="2057"/>
                  </a:lnTo>
                  <a:lnTo>
                    <a:pt x="1294" y="2064"/>
                  </a:lnTo>
                  <a:lnTo>
                    <a:pt x="1316" y="2073"/>
                  </a:lnTo>
                  <a:lnTo>
                    <a:pt x="1327" y="2078"/>
                  </a:lnTo>
                  <a:lnTo>
                    <a:pt x="1337" y="2085"/>
                  </a:lnTo>
                  <a:lnTo>
                    <a:pt x="1346" y="2092"/>
                  </a:lnTo>
                  <a:lnTo>
                    <a:pt x="1355" y="2100"/>
                  </a:lnTo>
                  <a:lnTo>
                    <a:pt x="1364" y="2108"/>
                  </a:lnTo>
                  <a:lnTo>
                    <a:pt x="1372" y="2117"/>
                  </a:lnTo>
                  <a:lnTo>
                    <a:pt x="1379" y="2128"/>
                  </a:lnTo>
                  <a:lnTo>
                    <a:pt x="1385" y="2138"/>
                  </a:lnTo>
                  <a:lnTo>
                    <a:pt x="1393" y="2152"/>
                  </a:lnTo>
                  <a:close/>
                  <a:moveTo>
                    <a:pt x="1114" y="504"/>
                  </a:moveTo>
                  <a:lnTo>
                    <a:pt x="1114" y="504"/>
                  </a:lnTo>
                  <a:lnTo>
                    <a:pt x="1109" y="531"/>
                  </a:lnTo>
                  <a:lnTo>
                    <a:pt x="1102" y="557"/>
                  </a:lnTo>
                  <a:lnTo>
                    <a:pt x="1093" y="583"/>
                  </a:lnTo>
                  <a:lnTo>
                    <a:pt x="1081" y="607"/>
                  </a:lnTo>
                  <a:lnTo>
                    <a:pt x="1068" y="630"/>
                  </a:lnTo>
                  <a:lnTo>
                    <a:pt x="1054" y="651"/>
                  </a:lnTo>
                  <a:lnTo>
                    <a:pt x="1039" y="672"/>
                  </a:lnTo>
                  <a:lnTo>
                    <a:pt x="1022" y="690"/>
                  </a:lnTo>
                  <a:lnTo>
                    <a:pt x="1002" y="707"/>
                  </a:lnTo>
                  <a:lnTo>
                    <a:pt x="981" y="721"/>
                  </a:lnTo>
                  <a:lnTo>
                    <a:pt x="961" y="734"/>
                  </a:lnTo>
                  <a:lnTo>
                    <a:pt x="939" y="746"/>
                  </a:lnTo>
                  <a:lnTo>
                    <a:pt x="914" y="755"/>
                  </a:lnTo>
                  <a:lnTo>
                    <a:pt x="889" y="760"/>
                  </a:lnTo>
                  <a:lnTo>
                    <a:pt x="865" y="764"/>
                  </a:lnTo>
                  <a:lnTo>
                    <a:pt x="839" y="765"/>
                  </a:lnTo>
                  <a:lnTo>
                    <a:pt x="813" y="764"/>
                  </a:lnTo>
                  <a:lnTo>
                    <a:pt x="787" y="760"/>
                  </a:lnTo>
                  <a:lnTo>
                    <a:pt x="762" y="753"/>
                  </a:lnTo>
                  <a:lnTo>
                    <a:pt x="739" y="746"/>
                  </a:lnTo>
                  <a:lnTo>
                    <a:pt x="715" y="734"/>
                  </a:lnTo>
                  <a:lnTo>
                    <a:pt x="695" y="721"/>
                  </a:lnTo>
                  <a:lnTo>
                    <a:pt x="674" y="707"/>
                  </a:lnTo>
                  <a:lnTo>
                    <a:pt x="656" y="690"/>
                  </a:lnTo>
                  <a:lnTo>
                    <a:pt x="637" y="670"/>
                  </a:lnTo>
                  <a:lnTo>
                    <a:pt x="622" y="651"/>
                  </a:lnTo>
                  <a:lnTo>
                    <a:pt x="608" y="629"/>
                  </a:lnTo>
                  <a:lnTo>
                    <a:pt x="595" y="607"/>
                  </a:lnTo>
                  <a:lnTo>
                    <a:pt x="584" y="582"/>
                  </a:lnTo>
                  <a:lnTo>
                    <a:pt x="575" y="557"/>
                  </a:lnTo>
                  <a:lnTo>
                    <a:pt x="567" y="530"/>
                  </a:lnTo>
                  <a:lnTo>
                    <a:pt x="563" y="503"/>
                  </a:lnTo>
                  <a:lnTo>
                    <a:pt x="557" y="492"/>
                  </a:lnTo>
                  <a:lnTo>
                    <a:pt x="552" y="479"/>
                  </a:lnTo>
                  <a:lnTo>
                    <a:pt x="547" y="468"/>
                  </a:lnTo>
                  <a:lnTo>
                    <a:pt x="543" y="455"/>
                  </a:lnTo>
                  <a:lnTo>
                    <a:pt x="540" y="442"/>
                  </a:lnTo>
                  <a:lnTo>
                    <a:pt x="537" y="427"/>
                  </a:lnTo>
                  <a:lnTo>
                    <a:pt x="536" y="413"/>
                  </a:lnTo>
                  <a:lnTo>
                    <a:pt x="536" y="397"/>
                  </a:lnTo>
                  <a:lnTo>
                    <a:pt x="536" y="179"/>
                  </a:lnTo>
                  <a:lnTo>
                    <a:pt x="537" y="168"/>
                  </a:lnTo>
                  <a:lnTo>
                    <a:pt x="540" y="156"/>
                  </a:lnTo>
                  <a:lnTo>
                    <a:pt x="544" y="143"/>
                  </a:lnTo>
                  <a:lnTo>
                    <a:pt x="549" y="131"/>
                  </a:lnTo>
                  <a:lnTo>
                    <a:pt x="557" y="119"/>
                  </a:lnTo>
                  <a:lnTo>
                    <a:pt x="566" y="109"/>
                  </a:lnTo>
                  <a:lnTo>
                    <a:pt x="575" y="97"/>
                  </a:lnTo>
                  <a:lnTo>
                    <a:pt x="587" y="87"/>
                  </a:lnTo>
                  <a:lnTo>
                    <a:pt x="598" y="77"/>
                  </a:lnTo>
                  <a:lnTo>
                    <a:pt x="613" y="68"/>
                  </a:lnTo>
                  <a:lnTo>
                    <a:pt x="626" y="58"/>
                  </a:lnTo>
                  <a:lnTo>
                    <a:pt x="641" y="49"/>
                  </a:lnTo>
                  <a:lnTo>
                    <a:pt x="657" y="42"/>
                  </a:lnTo>
                  <a:lnTo>
                    <a:pt x="672" y="34"/>
                  </a:lnTo>
                  <a:lnTo>
                    <a:pt x="689" y="27"/>
                  </a:lnTo>
                  <a:lnTo>
                    <a:pt x="708" y="21"/>
                  </a:lnTo>
                  <a:lnTo>
                    <a:pt x="724" y="16"/>
                  </a:lnTo>
                  <a:lnTo>
                    <a:pt x="743" y="10"/>
                  </a:lnTo>
                  <a:lnTo>
                    <a:pt x="759" y="6"/>
                  </a:lnTo>
                  <a:lnTo>
                    <a:pt x="778" y="4"/>
                  </a:lnTo>
                  <a:lnTo>
                    <a:pt x="796" y="1"/>
                  </a:lnTo>
                  <a:lnTo>
                    <a:pt x="813" y="0"/>
                  </a:lnTo>
                  <a:lnTo>
                    <a:pt x="831" y="0"/>
                  </a:lnTo>
                  <a:lnTo>
                    <a:pt x="848" y="1"/>
                  </a:lnTo>
                  <a:lnTo>
                    <a:pt x="865" y="3"/>
                  </a:lnTo>
                  <a:lnTo>
                    <a:pt x="880" y="5"/>
                  </a:lnTo>
                  <a:lnTo>
                    <a:pt x="896" y="9"/>
                  </a:lnTo>
                  <a:lnTo>
                    <a:pt x="910" y="16"/>
                  </a:lnTo>
                  <a:lnTo>
                    <a:pt x="924" y="22"/>
                  </a:lnTo>
                  <a:lnTo>
                    <a:pt x="937" y="30"/>
                  </a:lnTo>
                  <a:lnTo>
                    <a:pt x="949" y="39"/>
                  </a:lnTo>
                  <a:lnTo>
                    <a:pt x="959" y="49"/>
                  </a:lnTo>
                  <a:lnTo>
                    <a:pt x="971" y="45"/>
                  </a:lnTo>
                  <a:lnTo>
                    <a:pt x="983" y="42"/>
                  </a:lnTo>
                  <a:lnTo>
                    <a:pt x="993" y="39"/>
                  </a:lnTo>
                  <a:lnTo>
                    <a:pt x="1004" y="38"/>
                  </a:lnTo>
                  <a:lnTo>
                    <a:pt x="1014" y="38"/>
                  </a:lnTo>
                  <a:lnTo>
                    <a:pt x="1023" y="38"/>
                  </a:lnTo>
                  <a:lnTo>
                    <a:pt x="1032" y="39"/>
                  </a:lnTo>
                  <a:lnTo>
                    <a:pt x="1041" y="40"/>
                  </a:lnTo>
                  <a:lnTo>
                    <a:pt x="1049" y="43"/>
                  </a:lnTo>
                  <a:lnTo>
                    <a:pt x="1057" y="47"/>
                  </a:lnTo>
                  <a:lnTo>
                    <a:pt x="1065" y="51"/>
                  </a:lnTo>
                  <a:lnTo>
                    <a:pt x="1072" y="55"/>
                  </a:lnTo>
                  <a:lnTo>
                    <a:pt x="1085" y="66"/>
                  </a:lnTo>
                  <a:lnTo>
                    <a:pt x="1097" y="81"/>
                  </a:lnTo>
                  <a:lnTo>
                    <a:pt x="1107" y="97"/>
                  </a:lnTo>
                  <a:lnTo>
                    <a:pt x="1116" y="116"/>
                  </a:lnTo>
                  <a:lnTo>
                    <a:pt x="1124" y="135"/>
                  </a:lnTo>
                  <a:lnTo>
                    <a:pt x="1131" y="157"/>
                  </a:lnTo>
                  <a:lnTo>
                    <a:pt x="1135" y="181"/>
                  </a:lnTo>
                  <a:lnTo>
                    <a:pt x="1139" y="205"/>
                  </a:lnTo>
                  <a:lnTo>
                    <a:pt x="1140" y="230"/>
                  </a:lnTo>
                  <a:lnTo>
                    <a:pt x="1141" y="257"/>
                  </a:lnTo>
                  <a:lnTo>
                    <a:pt x="1141" y="397"/>
                  </a:lnTo>
                  <a:lnTo>
                    <a:pt x="1140" y="413"/>
                  </a:lnTo>
                  <a:lnTo>
                    <a:pt x="1139" y="427"/>
                  </a:lnTo>
                  <a:lnTo>
                    <a:pt x="1137" y="442"/>
                  </a:lnTo>
                  <a:lnTo>
                    <a:pt x="1133" y="455"/>
                  </a:lnTo>
                  <a:lnTo>
                    <a:pt x="1129" y="468"/>
                  </a:lnTo>
                  <a:lnTo>
                    <a:pt x="1126" y="481"/>
                  </a:lnTo>
                  <a:lnTo>
                    <a:pt x="1120" y="492"/>
                  </a:lnTo>
                  <a:lnTo>
                    <a:pt x="1114" y="504"/>
                  </a:lnTo>
                  <a:close/>
                  <a:moveTo>
                    <a:pt x="619" y="313"/>
                  </a:moveTo>
                  <a:lnTo>
                    <a:pt x="619" y="313"/>
                  </a:lnTo>
                  <a:lnTo>
                    <a:pt x="615" y="329"/>
                  </a:lnTo>
                  <a:lnTo>
                    <a:pt x="613" y="346"/>
                  </a:lnTo>
                  <a:lnTo>
                    <a:pt x="611" y="362"/>
                  </a:lnTo>
                  <a:lnTo>
                    <a:pt x="611" y="379"/>
                  </a:lnTo>
                  <a:lnTo>
                    <a:pt x="611" y="455"/>
                  </a:lnTo>
                  <a:lnTo>
                    <a:pt x="611" y="471"/>
                  </a:lnTo>
                  <a:lnTo>
                    <a:pt x="613" y="488"/>
                  </a:lnTo>
                  <a:lnTo>
                    <a:pt x="615" y="505"/>
                  </a:lnTo>
                  <a:lnTo>
                    <a:pt x="619" y="522"/>
                  </a:lnTo>
                  <a:lnTo>
                    <a:pt x="623" y="538"/>
                  </a:lnTo>
                  <a:lnTo>
                    <a:pt x="628" y="553"/>
                  </a:lnTo>
                  <a:lnTo>
                    <a:pt x="635" y="569"/>
                  </a:lnTo>
                  <a:lnTo>
                    <a:pt x="641" y="583"/>
                  </a:lnTo>
                  <a:lnTo>
                    <a:pt x="649" y="597"/>
                  </a:lnTo>
                  <a:lnTo>
                    <a:pt x="657" y="610"/>
                  </a:lnTo>
                  <a:lnTo>
                    <a:pt x="667" y="625"/>
                  </a:lnTo>
                  <a:lnTo>
                    <a:pt x="676" y="636"/>
                  </a:lnTo>
                  <a:lnTo>
                    <a:pt x="688" y="648"/>
                  </a:lnTo>
                  <a:lnTo>
                    <a:pt x="698" y="659"/>
                  </a:lnTo>
                  <a:lnTo>
                    <a:pt x="711" y="669"/>
                  </a:lnTo>
                  <a:lnTo>
                    <a:pt x="723" y="678"/>
                  </a:lnTo>
                  <a:lnTo>
                    <a:pt x="736" y="686"/>
                  </a:lnTo>
                  <a:lnTo>
                    <a:pt x="750" y="694"/>
                  </a:lnTo>
                  <a:lnTo>
                    <a:pt x="763" y="699"/>
                  </a:lnTo>
                  <a:lnTo>
                    <a:pt x="778" y="704"/>
                  </a:lnTo>
                  <a:lnTo>
                    <a:pt x="793" y="708"/>
                  </a:lnTo>
                  <a:lnTo>
                    <a:pt x="808" y="712"/>
                  </a:lnTo>
                  <a:lnTo>
                    <a:pt x="823" y="713"/>
                  </a:lnTo>
                  <a:lnTo>
                    <a:pt x="839" y="713"/>
                  </a:lnTo>
                  <a:lnTo>
                    <a:pt x="854" y="713"/>
                  </a:lnTo>
                  <a:lnTo>
                    <a:pt x="869" y="712"/>
                  </a:lnTo>
                  <a:lnTo>
                    <a:pt x="884" y="708"/>
                  </a:lnTo>
                  <a:lnTo>
                    <a:pt x="898" y="704"/>
                  </a:lnTo>
                  <a:lnTo>
                    <a:pt x="913" y="699"/>
                  </a:lnTo>
                  <a:lnTo>
                    <a:pt x="927" y="694"/>
                  </a:lnTo>
                  <a:lnTo>
                    <a:pt x="940" y="686"/>
                  </a:lnTo>
                  <a:lnTo>
                    <a:pt x="953" y="678"/>
                  </a:lnTo>
                  <a:lnTo>
                    <a:pt x="966" y="669"/>
                  </a:lnTo>
                  <a:lnTo>
                    <a:pt x="978" y="660"/>
                  </a:lnTo>
                  <a:lnTo>
                    <a:pt x="988" y="648"/>
                  </a:lnTo>
                  <a:lnTo>
                    <a:pt x="1000" y="638"/>
                  </a:lnTo>
                  <a:lnTo>
                    <a:pt x="1009" y="625"/>
                  </a:lnTo>
                  <a:lnTo>
                    <a:pt x="1019" y="612"/>
                  </a:lnTo>
                  <a:lnTo>
                    <a:pt x="1027" y="599"/>
                  </a:lnTo>
                  <a:lnTo>
                    <a:pt x="1035" y="584"/>
                  </a:lnTo>
                  <a:lnTo>
                    <a:pt x="1042" y="569"/>
                  </a:lnTo>
                  <a:lnTo>
                    <a:pt x="1048" y="555"/>
                  </a:lnTo>
                  <a:lnTo>
                    <a:pt x="1053" y="539"/>
                  </a:lnTo>
                  <a:lnTo>
                    <a:pt x="1058" y="523"/>
                  </a:lnTo>
                  <a:lnTo>
                    <a:pt x="1061" y="507"/>
                  </a:lnTo>
                  <a:lnTo>
                    <a:pt x="1063" y="490"/>
                  </a:lnTo>
                  <a:lnTo>
                    <a:pt x="1065" y="471"/>
                  </a:lnTo>
                  <a:lnTo>
                    <a:pt x="1066" y="455"/>
                  </a:lnTo>
                  <a:lnTo>
                    <a:pt x="1066" y="379"/>
                  </a:lnTo>
                  <a:lnTo>
                    <a:pt x="1065" y="349"/>
                  </a:lnTo>
                  <a:lnTo>
                    <a:pt x="1059" y="320"/>
                  </a:lnTo>
                  <a:lnTo>
                    <a:pt x="1053" y="292"/>
                  </a:lnTo>
                  <a:lnTo>
                    <a:pt x="1042" y="266"/>
                  </a:lnTo>
                  <a:lnTo>
                    <a:pt x="1031" y="242"/>
                  </a:lnTo>
                  <a:lnTo>
                    <a:pt x="1017" y="218"/>
                  </a:lnTo>
                  <a:lnTo>
                    <a:pt x="1001" y="197"/>
                  </a:lnTo>
                  <a:lnTo>
                    <a:pt x="983" y="179"/>
                  </a:lnTo>
                  <a:lnTo>
                    <a:pt x="940" y="200"/>
                  </a:lnTo>
                  <a:lnTo>
                    <a:pt x="896" y="221"/>
                  </a:lnTo>
                  <a:lnTo>
                    <a:pt x="850" y="239"/>
                  </a:lnTo>
                  <a:lnTo>
                    <a:pt x="806" y="256"/>
                  </a:lnTo>
                  <a:lnTo>
                    <a:pt x="759" y="273"/>
                  </a:lnTo>
                  <a:lnTo>
                    <a:pt x="714" y="287"/>
                  </a:lnTo>
                  <a:lnTo>
                    <a:pt x="666" y="300"/>
                  </a:lnTo>
                  <a:lnTo>
                    <a:pt x="619" y="31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6450763" y="4450986"/>
            <a:ext cx="2743168" cy="1379743"/>
            <a:chOff x="5500720" y="4419413"/>
            <a:chExt cx="2743168" cy="1379743"/>
          </a:xfrm>
        </p:grpSpPr>
        <p:sp>
          <p:nvSpPr>
            <p:cNvPr id="27" name="TextBox 26"/>
            <p:cNvSpPr txBox="1"/>
            <p:nvPr/>
          </p:nvSpPr>
          <p:spPr>
            <a:xfrm>
              <a:off x="5500720" y="4419413"/>
              <a:ext cx="2743168" cy="1379743"/>
            </a:xfrm>
            <a:prstGeom prst="rect">
              <a:avLst/>
            </a:prstGeom>
            <a:solidFill>
              <a:srgbClr val="FBEAA2"/>
            </a:solidFill>
          </p:spPr>
          <p:txBody>
            <a:bodyPr wrap="square" rtlCol="0" anchor="b">
              <a:noAutofit/>
            </a:bodyPr>
            <a:lstStyle/>
            <a:p>
              <a:pPr algn="ctr"/>
              <a:r>
                <a:rPr lang="ru-RU" dirty="0">
                  <a:solidFill>
                    <a:srgbClr val="808080"/>
                  </a:solidFill>
                </a:rPr>
                <a:t>Векселедержатель 2</a:t>
              </a:r>
            </a:p>
          </p:txBody>
        </p:sp>
        <p:sp>
          <p:nvSpPr>
            <p:cNvPr id="28" name="Freeform 100"/>
            <p:cNvSpPr>
              <a:spLocks noChangeAspect="1" noEditPoints="1"/>
            </p:cNvSpPr>
            <p:nvPr/>
          </p:nvSpPr>
          <p:spPr bwMode="auto">
            <a:xfrm>
              <a:off x="6690361" y="4564340"/>
              <a:ext cx="298450" cy="766763"/>
            </a:xfrm>
            <a:custGeom>
              <a:avLst/>
              <a:gdLst>
                <a:gd name="T0" fmla="*/ 2147483647 w 1850"/>
                <a:gd name="T1" fmla="*/ 2147483647 h 4763"/>
                <a:gd name="T2" fmla="*/ 0 w 1850"/>
                <a:gd name="T3" fmla="*/ 2147483647 h 4763"/>
                <a:gd name="T4" fmla="*/ 2147483647 w 1850"/>
                <a:gd name="T5" fmla="*/ 2147483647 h 4763"/>
                <a:gd name="T6" fmla="*/ 2147483647 w 1850"/>
                <a:gd name="T7" fmla="*/ 2147483647 h 4763"/>
                <a:gd name="T8" fmla="*/ 2147483647 w 1850"/>
                <a:gd name="T9" fmla="*/ 2147483647 h 4763"/>
                <a:gd name="T10" fmla="*/ 2147483647 w 1850"/>
                <a:gd name="T11" fmla="*/ 2147483647 h 4763"/>
                <a:gd name="T12" fmla="*/ 2147483647 w 1850"/>
                <a:gd name="T13" fmla="*/ 2147483647 h 4763"/>
                <a:gd name="T14" fmla="*/ 2147483647 w 1850"/>
                <a:gd name="T15" fmla="*/ 2147483647 h 4763"/>
                <a:gd name="T16" fmla="*/ 2147483647 w 1850"/>
                <a:gd name="T17" fmla="*/ 2147483647 h 4763"/>
                <a:gd name="T18" fmla="*/ 2147483647 w 1850"/>
                <a:gd name="T19" fmla="*/ 2147483647 h 4763"/>
                <a:gd name="T20" fmla="*/ 2147483647 w 1850"/>
                <a:gd name="T21" fmla="*/ 2147483647 h 4763"/>
                <a:gd name="T22" fmla="*/ 2147483647 w 1850"/>
                <a:gd name="T23" fmla="*/ 2147483647 h 4763"/>
                <a:gd name="T24" fmla="*/ 2147483647 w 1850"/>
                <a:gd name="T25" fmla="*/ 2147483647 h 4763"/>
                <a:gd name="T26" fmla="*/ 2147483647 w 1850"/>
                <a:gd name="T27" fmla="*/ 2147483647 h 4763"/>
                <a:gd name="T28" fmla="*/ 2147483647 w 1850"/>
                <a:gd name="T29" fmla="*/ 2147483647 h 4763"/>
                <a:gd name="T30" fmla="*/ 2147483647 w 1850"/>
                <a:gd name="T31" fmla="*/ 2147483647 h 4763"/>
                <a:gd name="T32" fmla="*/ 2147483647 w 1850"/>
                <a:gd name="T33" fmla="*/ 2147483647 h 4763"/>
                <a:gd name="T34" fmla="*/ 2147483647 w 1850"/>
                <a:gd name="T35" fmla="*/ 2147483647 h 4763"/>
                <a:gd name="T36" fmla="*/ 2147483647 w 1850"/>
                <a:gd name="T37" fmla="*/ 2147483647 h 4763"/>
                <a:gd name="T38" fmla="*/ 2147483647 w 1850"/>
                <a:gd name="T39" fmla="*/ 2147483647 h 4763"/>
                <a:gd name="T40" fmla="*/ 2147483647 w 1850"/>
                <a:gd name="T41" fmla="*/ 2147483647 h 4763"/>
                <a:gd name="T42" fmla="*/ 2147483647 w 1850"/>
                <a:gd name="T43" fmla="*/ 2147483647 h 4763"/>
                <a:gd name="T44" fmla="*/ 2147483647 w 1850"/>
                <a:gd name="T45" fmla="*/ 2147483647 h 4763"/>
                <a:gd name="T46" fmla="*/ 2147483647 w 1850"/>
                <a:gd name="T47" fmla="*/ 2147483647 h 4763"/>
                <a:gd name="T48" fmla="*/ 2147483647 w 1850"/>
                <a:gd name="T49" fmla="*/ 2147483647 h 4763"/>
                <a:gd name="T50" fmla="*/ 2147483647 w 1850"/>
                <a:gd name="T51" fmla="*/ 2147483647 h 4763"/>
                <a:gd name="T52" fmla="*/ 2147483647 w 1850"/>
                <a:gd name="T53" fmla="*/ 2147483647 h 4763"/>
                <a:gd name="T54" fmla="*/ 2147483647 w 1850"/>
                <a:gd name="T55" fmla="*/ 2147483647 h 4763"/>
                <a:gd name="T56" fmla="*/ 2147483647 w 1850"/>
                <a:gd name="T57" fmla="*/ 2147483647 h 4763"/>
                <a:gd name="T58" fmla="*/ 2147483647 w 1850"/>
                <a:gd name="T59" fmla="*/ 2147483647 h 4763"/>
                <a:gd name="T60" fmla="*/ 2147483647 w 1850"/>
                <a:gd name="T61" fmla="*/ 2147483647 h 4763"/>
                <a:gd name="T62" fmla="*/ 2147483647 w 1850"/>
                <a:gd name="T63" fmla="*/ 2147483647 h 4763"/>
                <a:gd name="T64" fmla="*/ 2147483647 w 1850"/>
                <a:gd name="T65" fmla="*/ 2147483647 h 4763"/>
                <a:gd name="T66" fmla="*/ 2147483647 w 1850"/>
                <a:gd name="T67" fmla="*/ 2147483647 h 4763"/>
                <a:gd name="T68" fmla="*/ 2147483647 w 1850"/>
                <a:gd name="T69" fmla="*/ 2147483647 h 4763"/>
                <a:gd name="T70" fmla="*/ 2147483647 w 1850"/>
                <a:gd name="T71" fmla="*/ 2147483647 h 4763"/>
                <a:gd name="T72" fmla="*/ 2147483647 w 1850"/>
                <a:gd name="T73" fmla="*/ 2147483647 h 4763"/>
                <a:gd name="T74" fmla="*/ 2147483647 w 1850"/>
                <a:gd name="T75" fmla="*/ 2147483647 h 4763"/>
                <a:gd name="T76" fmla="*/ 2147483647 w 1850"/>
                <a:gd name="T77" fmla="*/ 2147483647 h 4763"/>
                <a:gd name="T78" fmla="*/ 2147483647 w 1850"/>
                <a:gd name="T79" fmla="*/ 2147483647 h 4763"/>
                <a:gd name="T80" fmla="*/ 2147483647 w 1850"/>
                <a:gd name="T81" fmla="*/ 2147483647 h 4763"/>
                <a:gd name="T82" fmla="*/ 2147483647 w 1850"/>
                <a:gd name="T83" fmla="*/ 2147483647 h 4763"/>
                <a:gd name="T84" fmla="*/ 2147483647 w 1850"/>
                <a:gd name="T85" fmla="*/ 2147483647 h 4763"/>
                <a:gd name="T86" fmla="*/ 2147483647 w 1850"/>
                <a:gd name="T87" fmla="*/ 2147483647 h 4763"/>
                <a:gd name="T88" fmla="*/ 2147483647 w 1850"/>
                <a:gd name="T89" fmla="*/ 2147483647 h 4763"/>
                <a:gd name="T90" fmla="*/ 2147483647 w 1850"/>
                <a:gd name="T91" fmla="*/ 2147483647 h 4763"/>
                <a:gd name="T92" fmla="*/ 2147483647 w 1850"/>
                <a:gd name="T93" fmla="*/ 2147483647 h 4763"/>
                <a:gd name="T94" fmla="*/ 2147483647 w 1850"/>
                <a:gd name="T95" fmla="*/ 2147483647 h 4763"/>
                <a:gd name="T96" fmla="*/ 2147483647 w 1850"/>
                <a:gd name="T97" fmla="*/ 2147483647 h 4763"/>
                <a:gd name="T98" fmla="*/ 2147483647 w 1850"/>
                <a:gd name="T99" fmla="*/ 2147483647 h 4763"/>
                <a:gd name="T100" fmla="*/ 2147483647 w 1850"/>
                <a:gd name="T101" fmla="*/ 2147483647 h 4763"/>
                <a:gd name="T102" fmla="*/ 2147483647 w 1850"/>
                <a:gd name="T103" fmla="*/ 2147483647 h 4763"/>
                <a:gd name="T104" fmla="*/ 2147483647 w 1850"/>
                <a:gd name="T105" fmla="*/ 2147483647 h 4763"/>
                <a:gd name="T106" fmla="*/ 2147483647 w 1850"/>
                <a:gd name="T107" fmla="*/ 2147483647 h 4763"/>
                <a:gd name="T108" fmla="*/ 2147483647 w 1850"/>
                <a:gd name="T109" fmla="*/ 2147483647 h 4763"/>
                <a:gd name="T110" fmla="*/ 2147483647 w 1850"/>
                <a:gd name="T111" fmla="*/ 2147483647 h 4763"/>
                <a:gd name="T112" fmla="*/ 2147483647 w 1850"/>
                <a:gd name="T113" fmla="*/ 2147483647 h 4763"/>
                <a:gd name="T114" fmla="*/ 2147483647 w 1850"/>
                <a:gd name="T115" fmla="*/ 2147483647 h 4763"/>
                <a:gd name="T116" fmla="*/ 2147483647 w 1850"/>
                <a:gd name="T117" fmla="*/ 2147483647 h 4763"/>
                <a:gd name="T118" fmla="*/ 2147483647 w 1850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50"/>
                <a:gd name="T181" fmla="*/ 0 h 4763"/>
                <a:gd name="T182" fmla="*/ 1850 w 1850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50" h="4763">
                  <a:moveTo>
                    <a:pt x="352" y="3267"/>
                  </a:moveTo>
                  <a:lnTo>
                    <a:pt x="153" y="3107"/>
                  </a:lnTo>
                  <a:lnTo>
                    <a:pt x="70" y="2776"/>
                  </a:lnTo>
                  <a:lnTo>
                    <a:pt x="123" y="2776"/>
                  </a:lnTo>
                  <a:lnTo>
                    <a:pt x="200" y="3077"/>
                  </a:lnTo>
                  <a:lnTo>
                    <a:pt x="348" y="3198"/>
                  </a:lnTo>
                  <a:lnTo>
                    <a:pt x="326" y="2724"/>
                  </a:lnTo>
                  <a:lnTo>
                    <a:pt x="271" y="2724"/>
                  </a:lnTo>
                  <a:lnTo>
                    <a:pt x="110" y="2724"/>
                  </a:lnTo>
                  <a:lnTo>
                    <a:pt x="57" y="2724"/>
                  </a:lnTo>
                  <a:lnTo>
                    <a:pt x="0" y="2724"/>
                  </a:lnTo>
                  <a:lnTo>
                    <a:pt x="0" y="1160"/>
                  </a:lnTo>
                  <a:lnTo>
                    <a:pt x="0" y="1139"/>
                  </a:lnTo>
                  <a:lnTo>
                    <a:pt x="4" y="1121"/>
                  </a:lnTo>
                  <a:lnTo>
                    <a:pt x="9" y="1103"/>
                  </a:lnTo>
                  <a:lnTo>
                    <a:pt x="16" y="1087"/>
                  </a:lnTo>
                  <a:lnTo>
                    <a:pt x="23" y="1073"/>
                  </a:lnTo>
                  <a:lnTo>
                    <a:pt x="34" y="1059"/>
                  </a:lnTo>
                  <a:lnTo>
                    <a:pt x="45" y="1047"/>
                  </a:lnTo>
                  <a:lnTo>
                    <a:pt x="57" y="1035"/>
                  </a:lnTo>
                  <a:lnTo>
                    <a:pt x="71" y="1025"/>
                  </a:lnTo>
                  <a:lnTo>
                    <a:pt x="87" y="1016"/>
                  </a:lnTo>
                  <a:lnTo>
                    <a:pt x="103" y="1007"/>
                  </a:lnTo>
                  <a:lnTo>
                    <a:pt x="121" y="998"/>
                  </a:lnTo>
                  <a:lnTo>
                    <a:pt x="157" y="982"/>
                  </a:lnTo>
                  <a:lnTo>
                    <a:pt x="196" y="968"/>
                  </a:lnTo>
                  <a:lnTo>
                    <a:pt x="592" y="823"/>
                  </a:lnTo>
                  <a:lnTo>
                    <a:pt x="719" y="1576"/>
                  </a:lnTo>
                  <a:lnTo>
                    <a:pt x="780" y="1033"/>
                  </a:lnTo>
                  <a:lnTo>
                    <a:pt x="766" y="1025"/>
                  </a:lnTo>
                  <a:lnTo>
                    <a:pt x="753" y="1016"/>
                  </a:lnTo>
                  <a:lnTo>
                    <a:pt x="741" y="1004"/>
                  </a:lnTo>
                  <a:lnTo>
                    <a:pt x="732" y="991"/>
                  </a:lnTo>
                  <a:lnTo>
                    <a:pt x="831" y="898"/>
                  </a:lnTo>
                  <a:lnTo>
                    <a:pt x="930" y="991"/>
                  </a:lnTo>
                  <a:lnTo>
                    <a:pt x="920" y="1004"/>
                  </a:lnTo>
                  <a:lnTo>
                    <a:pt x="909" y="1016"/>
                  </a:lnTo>
                  <a:lnTo>
                    <a:pt x="897" y="1025"/>
                  </a:lnTo>
                  <a:lnTo>
                    <a:pt x="883" y="1033"/>
                  </a:lnTo>
                  <a:lnTo>
                    <a:pt x="943" y="1576"/>
                  </a:lnTo>
                  <a:lnTo>
                    <a:pt x="1070" y="823"/>
                  </a:lnTo>
                  <a:lnTo>
                    <a:pt x="1466" y="968"/>
                  </a:lnTo>
                  <a:lnTo>
                    <a:pt x="1505" y="982"/>
                  </a:lnTo>
                  <a:lnTo>
                    <a:pt x="1540" y="998"/>
                  </a:lnTo>
                  <a:lnTo>
                    <a:pt x="1555" y="1007"/>
                  </a:lnTo>
                  <a:lnTo>
                    <a:pt x="1571" y="1016"/>
                  </a:lnTo>
                  <a:lnTo>
                    <a:pt x="1584" y="1025"/>
                  </a:lnTo>
                  <a:lnTo>
                    <a:pt x="1597" y="1037"/>
                  </a:lnTo>
                  <a:lnTo>
                    <a:pt x="1610" y="1047"/>
                  </a:lnTo>
                  <a:lnTo>
                    <a:pt x="1620" y="1060"/>
                  </a:lnTo>
                  <a:lnTo>
                    <a:pt x="1631" y="1073"/>
                  </a:lnTo>
                  <a:lnTo>
                    <a:pt x="1638" y="1087"/>
                  </a:lnTo>
                  <a:lnTo>
                    <a:pt x="1646" y="1104"/>
                  </a:lnTo>
                  <a:lnTo>
                    <a:pt x="1653" y="1121"/>
                  </a:lnTo>
                  <a:lnTo>
                    <a:pt x="1658" y="1139"/>
                  </a:lnTo>
                  <a:lnTo>
                    <a:pt x="1663" y="1160"/>
                  </a:lnTo>
                  <a:lnTo>
                    <a:pt x="1842" y="2208"/>
                  </a:lnTo>
                  <a:lnTo>
                    <a:pt x="1422" y="2208"/>
                  </a:lnTo>
                  <a:lnTo>
                    <a:pt x="1449" y="2260"/>
                  </a:lnTo>
                  <a:lnTo>
                    <a:pt x="1850" y="2260"/>
                  </a:lnTo>
                  <a:lnTo>
                    <a:pt x="1850" y="2321"/>
                  </a:lnTo>
                  <a:lnTo>
                    <a:pt x="1733" y="2321"/>
                  </a:lnTo>
                  <a:lnTo>
                    <a:pt x="1422" y="2321"/>
                  </a:lnTo>
                  <a:lnTo>
                    <a:pt x="1340" y="2163"/>
                  </a:lnTo>
                  <a:lnTo>
                    <a:pt x="1333" y="2154"/>
                  </a:lnTo>
                  <a:lnTo>
                    <a:pt x="1328" y="2144"/>
                  </a:lnTo>
                  <a:lnTo>
                    <a:pt x="1322" y="2137"/>
                  </a:lnTo>
                  <a:lnTo>
                    <a:pt x="1315" y="2130"/>
                  </a:lnTo>
                  <a:lnTo>
                    <a:pt x="1301" y="2118"/>
                  </a:lnTo>
                  <a:lnTo>
                    <a:pt x="1287" y="2111"/>
                  </a:lnTo>
                  <a:lnTo>
                    <a:pt x="1272" y="2105"/>
                  </a:lnTo>
                  <a:lnTo>
                    <a:pt x="1258" y="2103"/>
                  </a:lnTo>
                  <a:lnTo>
                    <a:pt x="1244" y="2102"/>
                  </a:lnTo>
                  <a:lnTo>
                    <a:pt x="1229" y="2104"/>
                  </a:lnTo>
                  <a:lnTo>
                    <a:pt x="1215" y="2107"/>
                  </a:lnTo>
                  <a:lnTo>
                    <a:pt x="1203" y="2111"/>
                  </a:lnTo>
                  <a:lnTo>
                    <a:pt x="1192" y="2116"/>
                  </a:lnTo>
                  <a:lnTo>
                    <a:pt x="1183" y="2122"/>
                  </a:lnTo>
                  <a:lnTo>
                    <a:pt x="1174" y="2129"/>
                  </a:lnTo>
                  <a:lnTo>
                    <a:pt x="1168" y="2135"/>
                  </a:lnTo>
                  <a:lnTo>
                    <a:pt x="1165" y="2141"/>
                  </a:lnTo>
                  <a:lnTo>
                    <a:pt x="1162" y="2147"/>
                  </a:lnTo>
                  <a:lnTo>
                    <a:pt x="1157" y="2387"/>
                  </a:lnTo>
                  <a:lnTo>
                    <a:pt x="1157" y="2402"/>
                  </a:lnTo>
                  <a:lnTo>
                    <a:pt x="1159" y="2415"/>
                  </a:lnTo>
                  <a:lnTo>
                    <a:pt x="1162" y="2428"/>
                  </a:lnTo>
                  <a:lnTo>
                    <a:pt x="1166" y="2439"/>
                  </a:lnTo>
                  <a:lnTo>
                    <a:pt x="1171" y="2450"/>
                  </a:lnTo>
                  <a:lnTo>
                    <a:pt x="1176" y="2460"/>
                  </a:lnTo>
                  <a:lnTo>
                    <a:pt x="1184" y="2469"/>
                  </a:lnTo>
                  <a:lnTo>
                    <a:pt x="1192" y="2478"/>
                  </a:lnTo>
                  <a:lnTo>
                    <a:pt x="1200" y="2486"/>
                  </a:lnTo>
                  <a:lnTo>
                    <a:pt x="1210" y="2494"/>
                  </a:lnTo>
                  <a:lnTo>
                    <a:pt x="1220" y="2500"/>
                  </a:lnTo>
                  <a:lnTo>
                    <a:pt x="1231" y="2506"/>
                  </a:lnTo>
                  <a:lnTo>
                    <a:pt x="1242" y="2511"/>
                  </a:lnTo>
                  <a:lnTo>
                    <a:pt x="1254" y="2516"/>
                  </a:lnTo>
                  <a:lnTo>
                    <a:pt x="1279" y="2522"/>
                  </a:lnTo>
                  <a:lnTo>
                    <a:pt x="1305" y="2526"/>
                  </a:lnTo>
                  <a:lnTo>
                    <a:pt x="1332" y="2528"/>
                  </a:lnTo>
                  <a:lnTo>
                    <a:pt x="1359" y="2526"/>
                  </a:lnTo>
                  <a:lnTo>
                    <a:pt x="1385" y="2522"/>
                  </a:lnTo>
                  <a:lnTo>
                    <a:pt x="1411" y="2515"/>
                  </a:lnTo>
                  <a:lnTo>
                    <a:pt x="1437" y="2506"/>
                  </a:lnTo>
                  <a:lnTo>
                    <a:pt x="1459" y="2495"/>
                  </a:lnTo>
                  <a:lnTo>
                    <a:pt x="1471" y="2489"/>
                  </a:lnTo>
                  <a:lnTo>
                    <a:pt x="1480" y="2481"/>
                  </a:lnTo>
                  <a:lnTo>
                    <a:pt x="1620" y="2373"/>
                  </a:lnTo>
                  <a:lnTo>
                    <a:pt x="1705" y="2373"/>
                  </a:lnTo>
                  <a:lnTo>
                    <a:pt x="1512" y="2522"/>
                  </a:lnTo>
                  <a:lnTo>
                    <a:pt x="1498" y="2532"/>
                  </a:lnTo>
                  <a:lnTo>
                    <a:pt x="1483" y="2541"/>
                  </a:lnTo>
                  <a:lnTo>
                    <a:pt x="1464" y="2548"/>
                  </a:lnTo>
                  <a:lnTo>
                    <a:pt x="1446" y="2556"/>
                  </a:lnTo>
                  <a:lnTo>
                    <a:pt x="1345" y="4763"/>
                  </a:lnTo>
                  <a:lnTo>
                    <a:pt x="909" y="4763"/>
                  </a:lnTo>
                  <a:lnTo>
                    <a:pt x="909" y="2771"/>
                  </a:lnTo>
                  <a:lnTo>
                    <a:pt x="857" y="2771"/>
                  </a:lnTo>
                  <a:lnTo>
                    <a:pt x="857" y="4763"/>
                  </a:lnTo>
                  <a:lnTo>
                    <a:pt x="421" y="4763"/>
                  </a:lnTo>
                  <a:lnTo>
                    <a:pt x="352" y="3267"/>
                  </a:lnTo>
                  <a:close/>
                  <a:moveTo>
                    <a:pt x="1106" y="2321"/>
                  </a:moveTo>
                  <a:lnTo>
                    <a:pt x="645" y="2321"/>
                  </a:lnTo>
                  <a:lnTo>
                    <a:pt x="645" y="2372"/>
                  </a:lnTo>
                  <a:lnTo>
                    <a:pt x="1105" y="2372"/>
                  </a:lnTo>
                  <a:lnTo>
                    <a:pt x="1106" y="2321"/>
                  </a:lnTo>
                  <a:close/>
                  <a:moveTo>
                    <a:pt x="1109" y="2208"/>
                  </a:moveTo>
                  <a:lnTo>
                    <a:pt x="645" y="2208"/>
                  </a:lnTo>
                  <a:lnTo>
                    <a:pt x="645" y="2260"/>
                  </a:lnTo>
                  <a:lnTo>
                    <a:pt x="1107" y="2260"/>
                  </a:lnTo>
                  <a:lnTo>
                    <a:pt x="1109" y="2208"/>
                  </a:lnTo>
                  <a:close/>
                  <a:moveTo>
                    <a:pt x="1393" y="2152"/>
                  </a:moveTo>
                  <a:lnTo>
                    <a:pt x="1773" y="2152"/>
                  </a:lnTo>
                  <a:lnTo>
                    <a:pt x="1606" y="1820"/>
                  </a:lnTo>
                  <a:lnTo>
                    <a:pt x="660" y="1820"/>
                  </a:lnTo>
                  <a:lnTo>
                    <a:pt x="640" y="2152"/>
                  </a:lnTo>
                  <a:lnTo>
                    <a:pt x="1110" y="2152"/>
                  </a:lnTo>
                  <a:lnTo>
                    <a:pt x="1110" y="2146"/>
                  </a:lnTo>
                  <a:lnTo>
                    <a:pt x="1111" y="2134"/>
                  </a:lnTo>
                  <a:lnTo>
                    <a:pt x="1114" y="2124"/>
                  </a:lnTo>
                  <a:lnTo>
                    <a:pt x="1116" y="2115"/>
                  </a:lnTo>
                  <a:lnTo>
                    <a:pt x="1120" y="2105"/>
                  </a:lnTo>
                  <a:lnTo>
                    <a:pt x="1126" y="2096"/>
                  </a:lnTo>
                  <a:lnTo>
                    <a:pt x="1132" y="2089"/>
                  </a:lnTo>
                  <a:lnTo>
                    <a:pt x="1139" y="2082"/>
                  </a:lnTo>
                  <a:lnTo>
                    <a:pt x="1146" y="2076"/>
                  </a:lnTo>
                  <a:lnTo>
                    <a:pt x="1154" y="2070"/>
                  </a:lnTo>
                  <a:lnTo>
                    <a:pt x="1163" y="2065"/>
                  </a:lnTo>
                  <a:lnTo>
                    <a:pt x="1172" y="2061"/>
                  </a:lnTo>
                  <a:lnTo>
                    <a:pt x="1183" y="2059"/>
                  </a:lnTo>
                  <a:lnTo>
                    <a:pt x="1203" y="2054"/>
                  </a:lnTo>
                  <a:lnTo>
                    <a:pt x="1226" y="2052"/>
                  </a:lnTo>
                  <a:lnTo>
                    <a:pt x="1249" y="2054"/>
                  </a:lnTo>
                  <a:lnTo>
                    <a:pt x="1271" y="2057"/>
                  </a:lnTo>
                  <a:lnTo>
                    <a:pt x="1294" y="2064"/>
                  </a:lnTo>
                  <a:lnTo>
                    <a:pt x="1316" y="2073"/>
                  </a:lnTo>
                  <a:lnTo>
                    <a:pt x="1327" y="2078"/>
                  </a:lnTo>
                  <a:lnTo>
                    <a:pt x="1337" y="2085"/>
                  </a:lnTo>
                  <a:lnTo>
                    <a:pt x="1346" y="2092"/>
                  </a:lnTo>
                  <a:lnTo>
                    <a:pt x="1355" y="2100"/>
                  </a:lnTo>
                  <a:lnTo>
                    <a:pt x="1364" y="2108"/>
                  </a:lnTo>
                  <a:lnTo>
                    <a:pt x="1372" y="2117"/>
                  </a:lnTo>
                  <a:lnTo>
                    <a:pt x="1379" y="2128"/>
                  </a:lnTo>
                  <a:lnTo>
                    <a:pt x="1385" y="2138"/>
                  </a:lnTo>
                  <a:lnTo>
                    <a:pt x="1393" y="2152"/>
                  </a:lnTo>
                  <a:close/>
                  <a:moveTo>
                    <a:pt x="1114" y="504"/>
                  </a:moveTo>
                  <a:lnTo>
                    <a:pt x="1114" y="504"/>
                  </a:lnTo>
                  <a:lnTo>
                    <a:pt x="1109" y="531"/>
                  </a:lnTo>
                  <a:lnTo>
                    <a:pt x="1102" y="557"/>
                  </a:lnTo>
                  <a:lnTo>
                    <a:pt x="1093" y="583"/>
                  </a:lnTo>
                  <a:lnTo>
                    <a:pt x="1081" y="607"/>
                  </a:lnTo>
                  <a:lnTo>
                    <a:pt x="1068" y="630"/>
                  </a:lnTo>
                  <a:lnTo>
                    <a:pt x="1054" y="651"/>
                  </a:lnTo>
                  <a:lnTo>
                    <a:pt x="1039" y="672"/>
                  </a:lnTo>
                  <a:lnTo>
                    <a:pt x="1022" y="690"/>
                  </a:lnTo>
                  <a:lnTo>
                    <a:pt x="1002" y="707"/>
                  </a:lnTo>
                  <a:lnTo>
                    <a:pt x="981" y="721"/>
                  </a:lnTo>
                  <a:lnTo>
                    <a:pt x="961" y="734"/>
                  </a:lnTo>
                  <a:lnTo>
                    <a:pt x="939" y="746"/>
                  </a:lnTo>
                  <a:lnTo>
                    <a:pt x="914" y="755"/>
                  </a:lnTo>
                  <a:lnTo>
                    <a:pt x="889" y="760"/>
                  </a:lnTo>
                  <a:lnTo>
                    <a:pt x="865" y="764"/>
                  </a:lnTo>
                  <a:lnTo>
                    <a:pt x="839" y="765"/>
                  </a:lnTo>
                  <a:lnTo>
                    <a:pt x="813" y="764"/>
                  </a:lnTo>
                  <a:lnTo>
                    <a:pt x="787" y="760"/>
                  </a:lnTo>
                  <a:lnTo>
                    <a:pt x="762" y="753"/>
                  </a:lnTo>
                  <a:lnTo>
                    <a:pt x="739" y="746"/>
                  </a:lnTo>
                  <a:lnTo>
                    <a:pt x="715" y="734"/>
                  </a:lnTo>
                  <a:lnTo>
                    <a:pt x="695" y="721"/>
                  </a:lnTo>
                  <a:lnTo>
                    <a:pt x="674" y="707"/>
                  </a:lnTo>
                  <a:lnTo>
                    <a:pt x="656" y="690"/>
                  </a:lnTo>
                  <a:lnTo>
                    <a:pt x="637" y="670"/>
                  </a:lnTo>
                  <a:lnTo>
                    <a:pt x="622" y="651"/>
                  </a:lnTo>
                  <a:lnTo>
                    <a:pt x="608" y="629"/>
                  </a:lnTo>
                  <a:lnTo>
                    <a:pt x="595" y="607"/>
                  </a:lnTo>
                  <a:lnTo>
                    <a:pt x="584" y="582"/>
                  </a:lnTo>
                  <a:lnTo>
                    <a:pt x="575" y="557"/>
                  </a:lnTo>
                  <a:lnTo>
                    <a:pt x="567" y="530"/>
                  </a:lnTo>
                  <a:lnTo>
                    <a:pt x="563" y="503"/>
                  </a:lnTo>
                  <a:lnTo>
                    <a:pt x="557" y="492"/>
                  </a:lnTo>
                  <a:lnTo>
                    <a:pt x="552" y="479"/>
                  </a:lnTo>
                  <a:lnTo>
                    <a:pt x="547" y="468"/>
                  </a:lnTo>
                  <a:lnTo>
                    <a:pt x="543" y="455"/>
                  </a:lnTo>
                  <a:lnTo>
                    <a:pt x="540" y="442"/>
                  </a:lnTo>
                  <a:lnTo>
                    <a:pt x="537" y="427"/>
                  </a:lnTo>
                  <a:lnTo>
                    <a:pt x="536" y="413"/>
                  </a:lnTo>
                  <a:lnTo>
                    <a:pt x="536" y="397"/>
                  </a:lnTo>
                  <a:lnTo>
                    <a:pt x="536" y="179"/>
                  </a:lnTo>
                  <a:lnTo>
                    <a:pt x="537" y="168"/>
                  </a:lnTo>
                  <a:lnTo>
                    <a:pt x="540" y="156"/>
                  </a:lnTo>
                  <a:lnTo>
                    <a:pt x="544" y="143"/>
                  </a:lnTo>
                  <a:lnTo>
                    <a:pt x="549" y="131"/>
                  </a:lnTo>
                  <a:lnTo>
                    <a:pt x="557" y="119"/>
                  </a:lnTo>
                  <a:lnTo>
                    <a:pt x="566" y="109"/>
                  </a:lnTo>
                  <a:lnTo>
                    <a:pt x="575" y="97"/>
                  </a:lnTo>
                  <a:lnTo>
                    <a:pt x="587" y="87"/>
                  </a:lnTo>
                  <a:lnTo>
                    <a:pt x="598" y="77"/>
                  </a:lnTo>
                  <a:lnTo>
                    <a:pt x="613" y="68"/>
                  </a:lnTo>
                  <a:lnTo>
                    <a:pt x="626" y="58"/>
                  </a:lnTo>
                  <a:lnTo>
                    <a:pt x="641" y="49"/>
                  </a:lnTo>
                  <a:lnTo>
                    <a:pt x="657" y="42"/>
                  </a:lnTo>
                  <a:lnTo>
                    <a:pt x="672" y="34"/>
                  </a:lnTo>
                  <a:lnTo>
                    <a:pt x="689" y="27"/>
                  </a:lnTo>
                  <a:lnTo>
                    <a:pt x="708" y="21"/>
                  </a:lnTo>
                  <a:lnTo>
                    <a:pt x="724" y="16"/>
                  </a:lnTo>
                  <a:lnTo>
                    <a:pt x="743" y="10"/>
                  </a:lnTo>
                  <a:lnTo>
                    <a:pt x="759" y="6"/>
                  </a:lnTo>
                  <a:lnTo>
                    <a:pt x="778" y="4"/>
                  </a:lnTo>
                  <a:lnTo>
                    <a:pt x="796" y="1"/>
                  </a:lnTo>
                  <a:lnTo>
                    <a:pt x="813" y="0"/>
                  </a:lnTo>
                  <a:lnTo>
                    <a:pt x="831" y="0"/>
                  </a:lnTo>
                  <a:lnTo>
                    <a:pt x="848" y="1"/>
                  </a:lnTo>
                  <a:lnTo>
                    <a:pt x="865" y="3"/>
                  </a:lnTo>
                  <a:lnTo>
                    <a:pt x="880" y="5"/>
                  </a:lnTo>
                  <a:lnTo>
                    <a:pt x="896" y="9"/>
                  </a:lnTo>
                  <a:lnTo>
                    <a:pt x="910" y="16"/>
                  </a:lnTo>
                  <a:lnTo>
                    <a:pt x="924" y="22"/>
                  </a:lnTo>
                  <a:lnTo>
                    <a:pt x="937" y="30"/>
                  </a:lnTo>
                  <a:lnTo>
                    <a:pt x="949" y="39"/>
                  </a:lnTo>
                  <a:lnTo>
                    <a:pt x="959" y="49"/>
                  </a:lnTo>
                  <a:lnTo>
                    <a:pt x="971" y="45"/>
                  </a:lnTo>
                  <a:lnTo>
                    <a:pt x="983" y="42"/>
                  </a:lnTo>
                  <a:lnTo>
                    <a:pt x="993" y="39"/>
                  </a:lnTo>
                  <a:lnTo>
                    <a:pt x="1004" y="38"/>
                  </a:lnTo>
                  <a:lnTo>
                    <a:pt x="1014" y="38"/>
                  </a:lnTo>
                  <a:lnTo>
                    <a:pt x="1023" y="38"/>
                  </a:lnTo>
                  <a:lnTo>
                    <a:pt x="1032" y="39"/>
                  </a:lnTo>
                  <a:lnTo>
                    <a:pt x="1041" y="40"/>
                  </a:lnTo>
                  <a:lnTo>
                    <a:pt x="1049" y="43"/>
                  </a:lnTo>
                  <a:lnTo>
                    <a:pt x="1057" y="47"/>
                  </a:lnTo>
                  <a:lnTo>
                    <a:pt x="1065" y="51"/>
                  </a:lnTo>
                  <a:lnTo>
                    <a:pt x="1072" y="55"/>
                  </a:lnTo>
                  <a:lnTo>
                    <a:pt x="1085" y="66"/>
                  </a:lnTo>
                  <a:lnTo>
                    <a:pt x="1097" y="81"/>
                  </a:lnTo>
                  <a:lnTo>
                    <a:pt x="1107" y="97"/>
                  </a:lnTo>
                  <a:lnTo>
                    <a:pt x="1116" y="116"/>
                  </a:lnTo>
                  <a:lnTo>
                    <a:pt x="1124" y="135"/>
                  </a:lnTo>
                  <a:lnTo>
                    <a:pt x="1131" y="157"/>
                  </a:lnTo>
                  <a:lnTo>
                    <a:pt x="1135" y="181"/>
                  </a:lnTo>
                  <a:lnTo>
                    <a:pt x="1139" y="205"/>
                  </a:lnTo>
                  <a:lnTo>
                    <a:pt x="1140" y="230"/>
                  </a:lnTo>
                  <a:lnTo>
                    <a:pt x="1141" y="257"/>
                  </a:lnTo>
                  <a:lnTo>
                    <a:pt x="1141" y="397"/>
                  </a:lnTo>
                  <a:lnTo>
                    <a:pt x="1140" y="413"/>
                  </a:lnTo>
                  <a:lnTo>
                    <a:pt x="1139" y="427"/>
                  </a:lnTo>
                  <a:lnTo>
                    <a:pt x="1137" y="442"/>
                  </a:lnTo>
                  <a:lnTo>
                    <a:pt x="1133" y="455"/>
                  </a:lnTo>
                  <a:lnTo>
                    <a:pt x="1129" y="468"/>
                  </a:lnTo>
                  <a:lnTo>
                    <a:pt x="1126" y="481"/>
                  </a:lnTo>
                  <a:lnTo>
                    <a:pt x="1120" y="492"/>
                  </a:lnTo>
                  <a:lnTo>
                    <a:pt x="1114" y="504"/>
                  </a:lnTo>
                  <a:close/>
                  <a:moveTo>
                    <a:pt x="619" y="313"/>
                  </a:moveTo>
                  <a:lnTo>
                    <a:pt x="619" y="313"/>
                  </a:lnTo>
                  <a:lnTo>
                    <a:pt x="615" y="329"/>
                  </a:lnTo>
                  <a:lnTo>
                    <a:pt x="613" y="346"/>
                  </a:lnTo>
                  <a:lnTo>
                    <a:pt x="611" y="362"/>
                  </a:lnTo>
                  <a:lnTo>
                    <a:pt x="611" y="379"/>
                  </a:lnTo>
                  <a:lnTo>
                    <a:pt x="611" y="455"/>
                  </a:lnTo>
                  <a:lnTo>
                    <a:pt x="611" y="471"/>
                  </a:lnTo>
                  <a:lnTo>
                    <a:pt x="613" y="488"/>
                  </a:lnTo>
                  <a:lnTo>
                    <a:pt x="615" y="505"/>
                  </a:lnTo>
                  <a:lnTo>
                    <a:pt x="619" y="522"/>
                  </a:lnTo>
                  <a:lnTo>
                    <a:pt x="623" y="538"/>
                  </a:lnTo>
                  <a:lnTo>
                    <a:pt x="628" y="553"/>
                  </a:lnTo>
                  <a:lnTo>
                    <a:pt x="635" y="569"/>
                  </a:lnTo>
                  <a:lnTo>
                    <a:pt x="641" y="583"/>
                  </a:lnTo>
                  <a:lnTo>
                    <a:pt x="649" y="597"/>
                  </a:lnTo>
                  <a:lnTo>
                    <a:pt x="657" y="610"/>
                  </a:lnTo>
                  <a:lnTo>
                    <a:pt x="667" y="625"/>
                  </a:lnTo>
                  <a:lnTo>
                    <a:pt x="676" y="636"/>
                  </a:lnTo>
                  <a:lnTo>
                    <a:pt x="688" y="648"/>
                  </a:lnTo>
                  <a:lnTo>
                    <a:pt x="698" y="659"/>
                  </a:lnTo>
                  <a:lnTo>
                    <a:pt x="711" y="669"/>
                  </a:lnTo>
                  <a:lnTo>
                    <a:pt x="723" y="678"/>
                  </a:lnTo>
                  <a:lnTo>
                    <a:pt x="736" y="686"/>
                  </a:lnTo>
                  <a:lnTo>
                    <a:pt x="750" y="694"/>
                  </a:lnTo>
                  <a:lnTo>
                    <a:pt x="763" y="699"/>
                  </a:lnTo>
                  <a:lnTo>
                    <a:pt x="778" y="704"/>
                  </a:lnTo>
                  <a:lnTo>
                    <a:pt x="793" y="708"/>
                  </a:lnTo>
                  <a:lnTo>
                    <a:pt x="808" y="712"/>
                  </a:lnTo>
                  <a:lnTo>
                    <a:pt x="823" y="713"/>
                  </a:lnTo>
                  <a:lnTo>
                    <a:pt x="839" y="713"/>
                  </a:lnTo>
                  <a:lnTo>
                    <a:pt x="854" y="713"/>
                  </a:lnTo>
                  <a:lnTo>
                    <a:pt x="869" y="712"/>
                  </a:lnTo>
                  <a:lnTo>
                    <a:pt x="884" y="708"/>
                  </a:lnTo>
                  <a:lnTo>
                    <a:pt x="898" y="704"/>
                  </a:lnTo>
                  <a:lnTo>
                    <a:pt x="913" y="699"/>
                  </a:lnTo>
                  <a:lnTo>
                    <a:pt x="927" y="694"/>
                  </a:lnTo>
                  <a:lnTo>
                    <a:pt x="940" y="686"/>
                  </a:lnTo>
                  <a:lnTo>
                    <a:pt x="953" y="678"/>
                  </a:lnTo>
                  <a:lnTo>
                    <a:pt x="966" y="669"/>
                  </a:lnTo>
                  <a:lnTo>
                    <a:pt x="978" y="660"/>
                  </a:lnTo>
                  <a:lnTo>
                    <a:pt x="988" y="648"/>
                  </a:lnTo>
                  <a:lnTo>
                    <a:pt x="1000" y="638"/>
                  </a:lnTo>
                  <a:lnTo>
                    <a:pt x="1009" y="625"/>
                  </a:lnTo>
                  <a:lnTo>
                    <a:pt x="1019" y="612"/>
                  </a:lnTo>
                  <a:lnTo>
                    <a:pt x="1027" y="599"/>
                  </a:lnTo>
                  <a:lnTo>
                    <a:pt x="1035" y="584"/>
                  </a:lnTo>
                  <a:lnTo>
                    <a:pt x="1042" y="569"/>
                  </a:lnTo>
                  <a:lnTo>
                    <a:pt x="1048" y="555"/>
                  </a:lnTo>
                  <a:lnTo>
                    <a:pt x="1053" y="539"/>
                  </a:lnTo>
                  <a:lnTo>
                    <a:pt x="1058" y="523"/>
                  </a:lnTo>
                  <a:lnTo>
                    <a:pt x="1061" y="507"/>
                  </a:lnTo>
                  <a:lnTo>
                    <a:pt x="1063" y="490"/>
                  </a:lnTo>
                  <a:lnTo>
                    <a:pt x="1065" y="471"/>
                  </a:lnTo>
                  <a:lnTo>
                    <a:pt x="1066" y="455"/>
                  </a:lnTo>
                  <a:lnTo>
                    <a:pt x="1066" y="379"/>
                  </a:lnTo>
                  <a:lnTo>
                    <a:pt x="1065" y="349"/>
                  </a:lnTo>
                  <a:lnTo>
                    <a:pt x="1059" y="320"/>
                  </a:lnTo>
                  <a:lnTo>
                    <a:pt x="1053" y="292"/>
                  </a:lnTo>
                  <a:lnTo>
                    <a:pt x="1042" y="266"/>
                  </a:lnTo>
                  <a:lnTo>
                    <a:pt x="1031" y="242"/>
                  </a:lnTo>
                  <a:lnTo>
                    <a:pt x="1017" y="218"/>
                  </a:lnTo>
                  <a:lnTo>
                    <a:pt x="1001" y="197"/>
                  </a:lnTo>
                  <a:lnTo>
                    <a:pt x="983" y="179"/>
                  </a:lnTo>
                  <a:lnTo>
                    <a:pt x="940" y="200"/>
                  </a:lnTo>
                  <a:lnTo>
                    <a:pt x="896" y="221"/>
                  </a:lnTo>
                  <a:lnTo>
                    <a:pt x="850" y="239"/>
                  </a:lnTo>
                  <a:lnTo>
                    <a:pt x="806" y="256"/>
                  </a:lnTo>
                  <a:lnTo>
                    <a:pt x="759" y="273"/>
                  </a:lnTo>
                  <a:lnTo>
                    <a:pt x="714" y="287"/>
                  </a:lnTo>
                  <a:lnTo>
                    <a:pt x="666" y="300"/>
                  </a:lnTo>
                  <a:lnTo>
                    <a:pt x="619" y="31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808080"/>
                </a:solidFill>
                <a:latin typeface="+mn-lt"/>
              </a:endParaRPr>
            </a:p>
          </p:txBody>
        </p:sp>
      </p:grpSp>
      <p:cxnSp>
        <p:nvCxnSpPr>
          <p:cNvPr id="29" name="Прямая со стрелкой 28"/>
          <p:cNvCxnSpPr/>
          <p:nvPr/>
        </p:nvCxnSpPr>
        <p:spPr bwMode="auto">
          <a:xfrm flipH="1" flipV="1">
            <a:off x="3562999" y="5548805"/>
            <a:ext cx="2693183" cy="1667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 стрелкой 29"/>
          <p:cNvCxnSpPr/>
          <p:nvPr/>
        </p:nvCxnSpPr>
        <p:spPr bwMode="auto">
          <a:xfrm flipH="1">
            <a:off x="3562998" y="5738868"/>
            <a:ext cx="2776962" cy="2596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1" name="Группа 30"/>
          <p:cNvGrpSpPr/>
          <p:nvPr/>
        </p:nvGrpSpPr>
        <p:grpSpPr>
          <a:xfrm>
            <a:off x="1287915" y="4335273"/>
            <a:ext cx="2088232" cy="1495455"/>
            <a:chOff x="251520" y="1977249"/>
            <a:chExt cx="2088232" cy="1379743"/>
          </a:xfrm>
        </p:grpSpPr>
        <p:sp>
          <p:nvSpPr>
            <p:cNvPr id="32" name="TextBox 31"/>
            <p:cNvSpPr txBox="1"/>
            <p:nvPr/>
          </p:nvSpPr>
          <p:spPr>
            <a:xfrm>
              <a:off x="251520" y="1977249"/>
              <a:ext cx="2088232" cy="1379743"/>
            </a:xfrm>
            <a:prstGeom prst="rect">
              <a:avLst/>
            </a:prstGeom>
            <a:solidFill>
              <a:srgbClr val="FBEAA2"/>
            </a:solidFill>
          </p:spPr>
          <p:txBody>
            <a:bodyPr wrap="square" rtlCol="0" anchor="b">
              <a:noAutofit/>
            </a:bodyPr>
            <a:lstStyle/>
            <a:p>
              <a:pPr algn="ctr"/>
              <a:r>
                <a:rPr lang="ru-RU" dirty="0">
                  <a:solidFill>
                    <a:srgbClr val="808080"/>
                  </a:solidFill>
                </a:rPr>
                <a:t>Должник</a:t>
              </a:r>
            </a:p>
          </p:txBody>
        </p:sp>
        <p:sp>
          <p:nvSpPr>
            <p:cNvPr id="33" name="Freeform 100"/>
            <p:cNvSpPr>
              <a:spLocks noChangeAspect="1" noEditPoints="1"/>
            </p:cNvSpPr>
            <p:nvPr/>
          </p:nvSpPr>
          <p:spPr bwMode="auto">
            <a:xfrm>
              <a:off x="1146411" y="2131737"/>
              <a:ext cx="298450" cy="766763"/>
            </a:xfrm>
            <a:custGeom>
              <a:avLst/>
              <a:gdLst>
                <a:gd name="T0" fmla="*/ 2147483647 w 1850"/>
                <a:gd name="T1" fmla="*/ 2147483647 h 4763"/>
                <a:gd name="T2" fmla="*/ 0 w 1850"/>
                <a:gd name="T3" fmla="*/ 2147483647 h 4763"/>
                <a:gd name="T4" fmla="*/ 2147483647 w 1850"/>
                <a:gd name="T5" fmla="*/ 2147483647 h 4763"/>
                <a:gd name="T6" fmla="*/ 2147483647 w 1850"/>
                <a:gd name="T7" fmla="*/ 2147483647 h 4763"/>
                <a:gd name="T8" fmla="*/ 2147483647 w 1850"/>
                <a:gd name="T9" fmla="*/ 2147483647 h 4763"/>
                <a:gd name="T10" fmla="*/ 2147483647 w 1850"/>
                <a:gd name="T11" fmla="*/ 2147483647 h 4763"/>
                <a:gd name="T12" fmla="*/ 2147483647 w 1850"/>
                <a:gd name="T13" fmla="*/ 2147483647 h 4763"/>
                <a:gd name="T14" fmla="*/ 2147483647 w 1850"/>
                <a:gd name="T15" fmla="*/ 2147483647 h 4763"/>
                <a:gd name="T16" fmla="*/ 2147483647 w 1850"/>
                <a:gd name="T17" fmla="*/ 2147483647 h 4763"/>
                <a:gd name="T18" fmla="*/ 2147483647 w 1850"/>
                <a:gd name="T19" fmla="*/ 2147483647 h 4763"/>
                <a:gd name="T20" fmla="*/ 2147483647 w 1850"/>
                <a:gd name="T21" fmla="*/ 2147483647 h 4763"/>
                <a:gd name="T22" fmla="*/ 2147483647 w 1850"/>
                <a:gd name="T23" fmla="*/ 2147483647 h 4763"/>
                <a:gd name="T24" fmla="*/ 2147483647 w 1850"/>
                <a:gd name="T25" fmla="*/ 2147483647 h 4763"/>
                <a:gd name="T26" fmla="*/ 2147483647 w 1850"/>
                <a:gd name="T27" fmla="*/ 2147483647 h 4763"/>
                <a:gd name="T28" fmla="*/ 2147483647 w 1850"/>
                <a:gd name="T29" fmla="*/ 2147483647 h 4763"/>
                <a:gd name="T30" fmla="*/ 2147483647 w 1850"/>
                <a:gd name="T31" fmla="*/ 2147483647 h 4763"/>
                <a:gd name="T32" fmla="*/ 2147483647 w 1850"/>
                <a:gd name="T33" fmla="*/ 2147483647 h 4763"/>
                <a:gd name="T34" fmla="*/ 2147483647 w 1850"/>
                <a:gd name="T35" fmla="*/ 2147483647 h 4763"/>
                <a:gd name="T36" fmla="*/ 2147483647 w 1850"/>
                <a:gd name="T37" fmla="*/ 2147483647 h 4763"/>
                <a:gd name="T38" fmla="*/ 2147483647 w 1850"/>
                <a:gd name="T39" fmla="*/ 2147483647 h 4763"/>
                <a:gd name="T40" fmla="*/ 2147483647 w 1850"/>
                <a:gd name="T41" fmla="*/ 2147483647 h 4763"/>
                <a:gd name="T42" fmla="*/ 2147483647 w 1850"/>
                <a:gd name="T43" fmla="*/ 2147483647 h 4763"/>
                <a:gd name="T44" fmla="*/ 2147483647 w 1850"/>
                <a:gd name="T45" fmla="*/ 2147483647 h 4763"/>
                <a:gd name="T46" fmla="*/ 2147483647 w 1850"/>
                <a:gd name="T47" fmla="*/ 2147483647 h 4763"/>
                <a:gd name="T48" fmla="*/ 2147483647 w 1850"/>
                <a:gd name="T49" fmla="*/ 2147483647 h 4763"/>
                <a:gd name="T50" fmla="*/ 2147483647 w 1850"/>
                <a:gd name="T51" fmla="*/ 2147483647 h 4763"/>
                <a:gd name="T52" fmla="*/ 2147483647 w 1850"/>
                <a:gd name="T53" fmla="*/ 2147483647 h 4763"/>
                <a:gd name="T54" fmla="*/ 2147483647 w 1850"/>
                <a:gd name="T55" fmla="*/ 2147483647 h 4763"/>
                <a:gd name="T56" fmla="*/ 2147483647 w 1850"/>
                <a:gd name="T57" fmla="*/ 2147483647 h 4763"/>
                <a:gd name="T58" fmla="*/ 2147483647 w 1850"/>
                <a:gd name="T59" fmla="*/ 2147483647 h 4763"/>
                <a:gd name="T60" fmla="*/ 2147483647 w 1850"/>
                <a:gd name="T61" fmla="*/ 2147483647 h 4763"/>
                <a:gd name="T62" fmla="*/ 2147483647 w 1850"/>
                <a:gd name="T63" fmla="*/ 2147483647 h 4763"/>
                <a:gd name="T64" fmla="*/ 2147483647 w 1850"/>
                <a:gd name="T65" fmla="*/ 2147483647 h 4763"/>
                <a:gd name="T66" fmla="*/ 2147483647 w 1850"/>
                <a:gd name="T67" fmla="*/ 2147483647 h 4763"/>
                <a:gd name="T68" fmla="*/ 2147483647 w 1850"/>
                <a:gd name="T69" fmla="*/ 2147483647 h 4763"/>
                <a:gd name="T70" fmla="*/ 2147483647 w 1850"/>
                <a:gd name="T71" fmla="*/ 2147483647 h 4763"/>
                <a:gd name="T72" fmla="*/ 2147483647 w 1850"/>
                <a:gd name="T73" fmla="*/ 2147483647 h 4763"/>
                <a:gd name="T74" fmla="*/ 2147483647 w 1850"/>
                <a:gd name="T75" fmla="*/ 2147483647 h 4763"/>
                <a:gd name="T76" fmla="*/ 2147483647 w 1850"/>
                <a:gd name="T77" fmla="*/ 2147483647 h 4763"/>
                <a:gd name="T78" fmla="*/ 2147483647 w 1850"/>
                <a:gd name="T79" fmla="*/ 2147483647 h 4763"/>
                <a:gd name="T80" fmla="*/ 2147483647 w 1850"/>
                <a:gd name="T81" fmla="*/ 2147483647 h 4763"/>
                <a:gd name="T82" fmla="*/ 2147483647 w 1850"/>
                <a:gd name="T83" fmla="*/ 2147483647 h 4763"/>
                <a:gd name="T84" fmla="*/ 2147483647 w 1850"/>
                <a:gd name="T85" fmla="*/ 2147483647 h 4763"/>
                <a:gd name="T86" fmla="*/ 2147483647 w 1850"/>
                <a:gd name="T87" fmla="*/ 2147483647 h 4763"/>
                <a:gd name="T88" fmla="*/ 2147483647 w 1850"/>
                <a:gd name="T89" fmla="*/ 2147483647 h 4763"/>
                <a:gd name="T90" fmla="*/ 2147483647 w 1850"/>
                <a:gd name="T91" fmla="*/ 2147483647 h 4763"/>
                <a:gd name="T92" fmla="*/ 2147483647 w 1850"/>
                <a:gd name="T93" fmla="*/ 2147483647 h 4763"/>
                <a:gd name="T94" fmla="*/ 2147483647 w 1850"/>
                <a:gd name="T95" fmla="*/ 2147483647 h 4763"/>
                <a:gd name="T96" fmla="*/ 2147483647 w 1850"/>
                <a:gd name="T97" fmla="*/ 2147483647 h 4763"/>
                <a:gd name="T98" fmla="*/ 2147483647 w 1850"/>
                <a:gd name="T99" fmla="*/ 2147483647 h 4763"/>
                <a:gd name="T100" fmla="*/ 2147483647 w 1850"/>
                <a:gd name="T101" fmla="*/ 2147483647 h 4763"/>
                <a:gd name="T102" fmla="*/ 2147483647 w 1850"/>
                <a:gd name="T103" fmla="*/ 2147483647 h 4763"/>
                <a:gd name="T104" fmla="*/ 2147483647 w 1850"/>
                <a:gd name="T105" fmla="*/ 2147483647 h 4763"/>
                <a:gd name="T106" fmla="*/ 2147483647 w 1850"/>
                <a:gd name="T107" fmla="*/ 2147483647 h 4763"/>
                <a:gd name="T108" fmla="*/ 2147483647 w 1850"/>
                <a:gd name="T109" fmla="*/ 2147483647 h 4763"/>
                <a:gd name="T110" fmla="*/ 2147483647 w 1850"/>
                <a:gd name="T111" fmla="*/ 2147483647 h 4763"/>
                <a:gd name="T112" fmla="*/ 2147483647 w 1850"/>
                <a:gd name="T113" fmla="*/ 2147483647 h 4763"/>
                <a:gd name="T114" fmla="*/ 2147483647 w 1850"/>
                <a:gd name="T115" fmla="*/ 2147483647 h 4763"/>
                <a:gd name="T116" fmla="*/ 2147483647 w 1850"/>
                <a:gd name="T117" fmla="*/ 2147483647 h 4763"/>
                <a:gd name="T118" fmla="*/ 2147483647 w 1850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50"/>
                <a:gd name="T181" fmla="*/ 0 h 4763"/>
                <a:gd name="T182" fmla="*/ 1850 w 1850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50" h="4763">
                  <a:moveTo>
                    <a:pt x="352" y="3267"/>
                  </a:moveTo>
                  <a:lnTo>
                    <a:pt x="153" y="3107"/>
                  </a:lnTo>
                  <a:lnTo>
                    <a:pt x="70" y="2776"/>
                  </a:lnTo>
                  <a:lnTo>
                    <a:pt x="123" y="2776"/>
                  </a:lnTo>
                  <a:lnTo>
                    <a:pt x="200" y="3077"/>
                  </a:lnTo>
                  <a:lnTo>
                    <a:pt x="348" y="3198"/>
                  </a:lnTo>
                  <a:lnTo>
                    <a:pt x="326" y="2724"/>
                  </a:lnTo>
                  <a:lnTo>
                    <a:pt x="271" y="2724"/>
                  </a:lnTo>
                  <a:lnTo>
                    <a:pt x="110" y="2724"/>
                  </a:lnTo>
                  <a:lnTo>
                    <a:pt x="57" y="2724"/>
                  </a:lnTo>
                  <a:lnTo>
                    <a:pt x="0" y="2724"/>
                  </a:lnTo>
                  <a:lnTo>
                    <a:pt x="0" y="1160"/>
                  </a:lnTo>
                  <a:lnTo>
                    <a:pt x="0" y="1139"/>
                  </a:lnTo>
                  <a:lnTo>
                    <a:pt x="4" y="1121"/>
                  </a:lnTo>
                  <a:lnTo>
                    <a:pt x="9" y="1103"/>
                  </a:lnTo>
                  <a:lnTo>
                    <a:pt x="16" y="1087"/>
                  </a:lnTo>
                  <a:lnTo>
                    <a:pt x="23" y="1073"/>
                  </a:lnTo>
                  <a:lnTo>
                    <a:pt x="34" y="1059"/>
                  </a:lnTo>
                  <a:lnTo>
                    <a:pt x="45" y="1047"/>
                  </a:lnTo>
                  <a:lnTo>
                    <a:pt x="57" y="1035"/>
                  </a:lnTo>
                  <a:lnTo>
                    <a:pt x="71" y="1025"/>
                  </a:lnTo>
                  <a:lnTo>
                    <a:pt x="87" y="1016"/>
                  </a:lnTo>
                  <a:lnTo>
                    <a:pt x="103" y="1007"/>
                  </a:lnTo>
                  <a:lnTo>
                    <a:pt x="121" y="998"/>
                  </a:lnTo>
                  <a:lnTo>
                    <a:pt x="157" y="982"/>
                  </a:lnTo>
                  <a:lnTo>
                    <a:pt x="196" y="968"/>
                  </a:lnTo>
                  <a:lnTo>
                    <a:pt x="592" y="823"/>
                  </a:lnTo>
                  <a:lnTo>
                    <a:pt x="719" y="1576"/>
                  </a:lnTo>
                  <a:lnTo>
                    <a:pt x="780" y="1033"/>
                  </a:lnTo>
                  <a:lnTo>
                    <a:pt x="766" y="1025"/>
                  </a:lnTo>
                  <a:lnTo>
                    <a:pt x="753" y="1016"/>
                  </a:lnTo>
                  <a:lnTo>
                    <a:pt x="741" y="1004"/>
                  </a:lnTo>
                  <a:lnTo>
                    <a:pt x="732" y="991"/>
                  </a:lnTo>
                  <a:lnTo>
                    <a:pt x="831" y="898"/>
                  </a:lnTo>
                  <a:lnTo>
                    <a:pt x="930" y="991"/>
                  </a:lnTo>
                  <a:lnTo>
                    <a:pt x="920" y="1004"/>
                  </a:lnTo>
                  <a:lnTo>
                    <a:pt x="909" y="1016"/>
                  </a:lnTo>
                  <a:lnTo>
                    <a:pt x="897" y="1025"/>
                  </a:lnTo>
                  <a:lnTo>
                    <a:pt x="883" y="1033"/>
                  </a:lnTo>
                  <a:lnTo>
                    <a:pt x="943" y="1576"/>
                  </a:lnTo>
                  <a:lnTo>
                    <a:pt x="1070" y="823"/>
                  </a:lnTo>
                  <a:lnTo>
                    <a:pt x="1466" y="968"/>
                  </a:lnTo>
                  <a:lnTo>
                    <a:pt x="1505" y="982"/>
                  </a:lnTo>
                  <a:lnTo>
                    <a:pt x="1540" y="998"/>
                  </a:lnTo>
                  <a:lnTo>
                    <a:pt x="1555" y="1007"/>
                  </a:lnTo>
                  <a:lnTo>
                    <a:pt x="1571" y="1016"/>
                  </a:lnTo>
                  <a:lnTo>
                    <a:pt x="1584" y="1025"/>
                  </a:lnTo>
                  <a:lnTo>
                    <a:pt x="1597" y="1037"/>
                  </a:lnTo>
                  <a:lnTo>
                    <a:pt x="1610" y="1047"/>
                  </a:lnTo>
                  <a:lnTo>
                    <a:pt x="1620" y="1060"/>
                  </a:lnTo>
                  <a:lnTo>
                    <a:pt x="1631" y="1073"/>
                  </a:lnTo>
                  <a:lnTo>
                    <a:pt x="1638" y="1087"/>
                  </a:lnTo>
                  <a:lnTo>
                    <a:pt x="1646" y="1104"/>
                  </a:lnTo>
                  <a:lnTo>
                    <a:pt x="1653" y="1121"/>
                  </a:lnTo>
                  <a:lnTo>
                    <a:pt x="1658" y="1139"/>
                  </a:lnTo>
                  <a:lnTo>
                    <a:pt x="1663" y="1160"/>
                  </a:lnTo>
                  <a:lnTo>
                    <a:pt x="1842" y="2208"/>
                  </a:lnTo>
                  <a:lnTo>
                    <a:pt x="1422" y="2208"/>
                  </a:lnTo>
                  <a:lnTo>
                    <a:pt x="1449" y="2260"/>
                  </a:lnTo>
                  <a:lnTo>
                    <a:pt x="1850" y="2260"/>
                  </a:lnTo>
                  <a:lnTo>
                    <a:pt x="1850" y="2321"/>
                  </a:lnTo>
                  <a:lnTo>
                    <a:pt x="1733" y="2321"/>
                  </a:lnTo>
                  <a:lnTo>
                    <a:pt x="1422" y="2321"/>
                  </a:lnTo>
                  <a:lnTo>
                    <a:pt x="1340" y="2163"/>
                  </a:lnTo>
                  <a:lnTo>
                    <a:pt x="1333" y="2154"/>
                  </a:lnTo>
                  <a:lnTo>
                    <a:pt x="1328" y="2144"/>
                  </a:lnTo>
                  <a:lnTo>
                    <a:pt x="1322" y="2137"/>
                  </a:lnTo>
                  <a:lnTo>
                    <a:pt x="1315" y="2130"/>
                  </a:lnTo>
                  <a:lnTo>
                    <a:pt x="1301" y="2118"/>
                  </a:lnTo>
                  <a:lnTo>
                    <a:pt x="1287" y="2111"/>
                  </a:lnTo>
                  <a:lnTo>
                    <a:pt x="1272" y="2105"/>
                  </a:lnTo>
                  <a:lnTo>
                    <a:pt x="1258" y="2103"/>
                  </a:lnTo>
                  <a:lnTo>
                    <a:pt x="1244" y="2102"/>
                  </a:lnTo>
                  <a:lnTo>
                    <a:pt x="1229" y="2104"/>
                  </a:lnTo>
                  <a:lnTo>
                    <a:pt x="1215" y="2107"/>
                  </a:lnTo>
                  <a:lnTo>
                    <a:pt x="1203" y="2111"/>
                  </a:lnTo>
                  <a:lnTo>
                    <a:pt x="1192" y="2116"/>
                  </a:lnTo>
                  <a:lnTo>
                    <a:pt x="1183" y="2122"/>
                  </a:lnTo>
                  <a:lnTo>
                    <a:pt x="1174" y="2129"/>
                  </a:lnTo>
                  <a:lnTo>
                    <a:pt x="1168" y="2135"/>
                  </a:lnTo>
                  <a:lnTo>
                    <a:pt x="1165" y="2141"/>
                  </a:lnTo>
                  <a:lnTo>
                    <a:pt x="1162" y="2147"/>
                  </a:lnTo>
                  <a:lnTo>
                    <a:pt x="1157" y="2387"/>
                  </a:lnTo>
                  <a:lnTo>
                    <a:pt x="1157" y="2402"/>
                  </a:lnTo>
                  <a:lnTo>
                    <a:pt x="1159" y="2415"/>
                  </a:lnTo>
                  <a:lnTo>
                    <a:pt x="1162" y="2428"/>
                  </a:lnTo>
                  <a:lnTo>
                    <a:pt x="1166" y="2439"/>
                  </a:lnTo>
                  <a:lnTo>
                    <a:pt x="1171" y="2450"/>
                  </a:lnTo>
                  <a:lnTo>
                    <a:pt x="1176" y="2460"/>
                  </a:lnTo>
                  <a:lnTo>
                    <a:pt x="1184" y="2469"/>
                  </a:lnTo>
                  <a:lnTo>
                    <a:pt x="1192" y="2478"/>
                  </a:lnTo>
                  <a:lnTo>
                    <a:pt x="1200" y="2486"/>
                  </a:lnTo>
                  <a:lnTo>
                    <a:pt x="1210" y="2494"/>
                  </a:lnTo>
                  <a:lnTo>
                    <a:pt x="1220" y="2500"/>
                  </a:lnTo>
                  <a:lnTo>
                    <a:pt x="1231" y="2506"/>
                  </a:lnTo>
                  <a:lnTo>
                    <a:pt x="1242" y="2511"/>
                  </a:lnTo>
                  <a:lnTo>
                    <a:pt x="1254" y="2516"/>
                  </a:lnTo>
                  <a:lnTo>
                    <a:pt x="1279" y="2522"/>
                  </a:lnTo>
                  <a:lnTo>
                    <a:pt x="1305" y="2526"/>
                  </a:lnTo>
                  <a:lnTo>
                    <a:pt x="1332" y="2528"/>
                  </a:lnTo>
                  <a:lnTo>
                    <a:pt x="1359" y="2526"/>
                  </a:lnTo>
                  <a:lnTo>
                    <a:pt x="1385" y="2522"/>
                  </a:lnTo>
                  <a:lnTo>
                    <a:pt x="1411" y="2515"/>
                  </a:lnTo>
                  <a:lnTo>
                    <a:pt x="1437" y="2506"/>
                  </a:lnTo>
                  <a:lnTo>
                    <a:pt x="1459" y="2495"/>
                  </a:lnTo>
                  <a:lnTo>
                    <a:pt x="1471" y="2489"/>
                  </a:lnTo>
                  <a:lnTo>
                    <a:pt x="1480" y="2481"/>
                  </a:lnTo>
                  <a:lnTo>
                    <a:pt x="1620" y="2373"/>
                  </a:lnTo>
                  <a:lnTo>
                    <a:pt x="1705" y="2373"/>
                  </a:lnTo>
                  <a:lnTo>
                    <a:pt x="1512" y="2522"/>
                  </a:lnTo>
                  <a:lnTo>
                    <a:pt x="1498" y="2532"/>
                  </a:lnTo>
                  <a:lnTo>
                    <a:pt x="1483" y="2541"/>
                  </a:lnTo>
                  <a:lnTo>
                    <a:pt x="1464" y="2548"/>
                  </a:lnTo>
                  <a:lnTo>
                    <a:pt x="1446" y="2556"/>
                  </a:lnTo>
                  <a:lnTo>
                    <a:pt x="1345" y="4763"/>
                  </a:lnTo>
                  <a:lnTo>
                    <a:pt x="909" y="4763"/>
                  </a:lnTo>
                  <a:lnTo>
                    <a:pt x="909" y="2771"/>
                  </a:lnTo>
                  <a:lnTo>
                    <a:pt x="857" y="2771"/>
                  </a:lnTo>
                  <a:lnTo>
                    <a:pt x="857" y="4763"/>
                  </a:lnTo>
                  <a:lnTo>
                    <a:pt x="421" y="4763"/>
                  </a:lnTo>
                  <a:lnTo>
                    <a:pt x="352" y="3267"/>
                  </a:lnTo>
                  <a:close/>
                  <a:moveTo>
                    <a:pt x="1106" y="2321"/>
                  </a:moveTo>
                  <a:lnTo>
                    <a:pt x="645" y="2321"/>
                  </a:lnTo>
                  <a:lnTo>
                    <a:pt x="645" y="2372"/>
                  </a:lnTo>
                  <a:lnTo>
                    <a:pt x="1105" y="2372"/>
                  </a:lnTo>
                  <a:lnTo>
                    <a:pt x="1106" y="2321"/>
                  </a:lnTo>
                  <a:close/>
                  <a:moveTo>
                    <a:pt x="1109" y="2208"/>
                  </a:moveTo>
                  <a:lnTo>
                    <a:pt x="645" y="2208"/>
                  </a:lnTo>
                  <a:lnTo>
                    <a:pt x="645" y="2260"/>
                  </a:lnTo>
                  <a:lnTo>
                    <a:pt x="1107" y="2260"/>
                  </a:lnTo>
                  <a:lnTo>
                    <a:pt x="1109" y="2208"/>
                  </a:lnTo>
                  <a:close/>
                  <a:moveTo>
                    <a:pt x="1393" y="2152"/>
                  </a:moveTo>
                  <a:lnTo>
                    <a:pt x="1773" y="2152"/>
                  </a:lnTo>
                  <a:lnTo>
                    <a:pt x="1606" y="1820"/>
                  </a:lnTo>
                  <a:lnTo>
                    <a:pt x="660" y="1820"/>
                  </a:lnTo>
                  <a:lnTo>
                    <a:pt x="640" y="2152"/>
                  </a:lnTo>
                  <a:lnTo>
                    <a:pt x="1110" y="2152"/>
                  </a:lnTo>
                  <a:lnTo>
                    <a:pt x="1110" y="2146"/>
                  </a:lnTo>
                  <a:lnTo>
                    <a:pt x="1111" y="2134"/>
                  </a:lnTo>
                  <a:lnTo>
                    <a:pt x="1114" y="2124"/>
                  </a:lnTo>
                  <a:lnTo>
                    <a:pt x="1116" y="2115"/>
                  </a:lnTo>
                  <a:lnTo>
                    <a:pt x="1120" y="2105"/>
                  </a:lnTo>
                  <a:lnTo>
                    <a:pt x="1126" y="2096"/>
                  </a:lnTo>
                  <a:lnTo>
                    <a:pt x="1132" y="2089"/>
                  </a:lnTo>
                  <a:lnTo>
                    <a:pt x="1139" y="2082"/>
                  </a:lnTo>
                  <a:lnTo>
                    <a:pt x="1146" y="2076"/>
                  </a:lnTo>
                  <a:lnTo>
                    <a:pt x="1154" y="2070"/>
                  </a:lnTo>
                  <a:lnTo>
                    <a:pt x="1163" y="2065"/>
                  </a:lnTo>
                  <a:lnTo>
                    <a:pt x="1172" y="2061"/>
                  </a:lnTo>
                  <a:lnTo>
                    <a:pt x="1183" y="2059"/>
                  </a:lnTo>
                  <a:lnTo>
                    <a:pt x="1203" y="2054"/>
                  </a:lnTo>
                  <a:lnTo>
                    <a:pt x="1226" y="2052"/>
                  </a:lnTo>
                  <a:lnTo>
                    <a:pt x="1249" y="2054"/>
                  </a:lnTo>
                  <a:lnTo>
                    <a:pt x="1271" y="2057"/>
                  </a:lnTo>
                  <a:lnTo>
                    <a:pt x="1294" y="2064"/>
                  </a:lnTo>
                  <a:lnTo>
                    <a:pt x="1316" y="2073"/>
                  </a:lnTo>
                  <a:lnTo>
                    <a:pt x="1327" y="2078"/>
                  </a:lnTo>
                  <a:lnTo>
                    <a:pt x="1337" y="2085"/>
                  </a:lnTo>
                  <a:lnTo>
                    <a:pt x="1346" y="2092"/>
                  </a:lnTo>
                  <a:lnTo>
                    <a:pt x="1355" y="2100"/>
                  </a:lnTo>
                  <a:lnTo>
                    <a:pt x="1364" y="2108"/>
                  </a:lnTo>
                  <a:lnTo>
                    <a:pt x="1372" y="2117"/>
                  </a:lnTo>
                  <a:lnTo>
                    <a:pt x="1379" y="2128"/>
                  </a:lnTo>
                  <a:lnTo>
                    <a:pt x="1385" y="2138"/>
                  </a:lnTo>
                  <a:lnTo>
                    <a:pt x="1393" y="2152"/>
                  </a:lnTo>
                  <a:close/>
                  <a:moveTo>
                    <a:pt x="1114" y="504"/>
                  </a:moveTo>
                  <a:lnTo>
                    <a:pt x="1114" y="504"/>
                  </a:lnTo>
                  <a:lnTo>
                    <a:pt x="1109" y="531"/>
                  </a:lnTo>
                  <a:lnTo>
                    <a:pt x="1102" y="557"/>
                  </a:lnTo>
                  <a:lnTo>
                    <a:pt x="1093" y="583"/>
                  </a:lnTo>
                  <a:lnTo>
                    <a:pt x="1081" y="607"/>
                  </a:lnTo>
                  <a:lnTo>
                    <a:pt x="1068" y="630"/>
                  </a:lnTo>
                  <a:lnTo>
                    <a:pt x="1054" y="651"/>
                  </a:lnTo>
                  <a:lnTo>
                    <a:pt x="1039" y="672"/>
                  </a:lnTo>
                  <a:lnTo>
                    <a:pt x="1022" y="690"/>
                  </a:lnTo>
                  <a:lnTo>
                    <a:pt x="1002" y="707"/>
                  </a:lnTo>
                  <a:lnTo>
                    <a:pt x="981" y="721"/>
                  </a:lnTo>
                  <a:lnTo>
                    <a:pt x="961" y="734"/>
                  </a:lnTo>
                  <a:lnTo>
                    <a:pt x="939" y="746"/>
                  </a:lnTo>
                  <a:lnTo>
                    <a:pt x="914" y="755"/>
                  </a:lnTo>
                  <a:lnTo>
                    <a:pt x="889" y="760"/>
                  </a:lnTo>
                  <a:lnTo>
                    <a:pt x="865" y="764"/>
                  </a:lnTo>
                  <a:lnTo>
                    <a:pt x="839" y="765"/>
                  </a:lnTo>
                  <a:lnTo>
                    <a:pt x="813" y="764"/>
                  </a:lnTo>
                  <a:lnTo>
                    <a:pt x="787" y="760"/>
                  </a:lnTo>
                  <a:lnTo>
                    <a:pt x="762" y="753"/>
                  </a:lnTo>
                  <a:lnTo>
                    <a:pt x="739" y="746"/>
                  </a:lnTo>
                  <a:lnTo>
                    <a:pt x="715" y="734"/>
                  </a:lnTo>
                  <a:lnTo>
                    <a:pt x="695" y="721"/>
                  </a:lnTo>
                  <a:lnTo>
                    <a:pt x="674" y="707"/>
                  </a:lnTo>
                  <a:lnTo>
                    <a:pt x="656" y="690"/>
                  </a:lnTo>
                  <a:lnTo>
                    <a:pt x="637" y="670"/>
                  </a:lnTo>
                  <a:lnTo>
                    <a:pt x="622" y="651"/>
                  </a:lnTo>
                  <a:lnTo>
                    <a:pt x="608" y="629"/>
                  </a:lnTo>
                  <a:lnTo>
                    <a:pt x="595" y="607"/>
                  </a:lnTo>
                  <a:lnTo>
                    <a:pt x="584" y="582"/>
                  </a:lnTo>
                  <a:lnTo>
                    <a:pt x="575" y="557"/>
                  </a:lnTo>
                  <a:lnTo>
                    <a:pt x="567" y="530"/>
                  </a:lnTo>
                  <a:lnTo>
                    <a:pt x="563" y="503"/>
                  </a:lnTo>
                  <a:lnTo>
                    <a:pt x="557" y="492"/>
                  </a:lnTo>
                  <a:lnTo>
                    <a:pt x="552" y="479"/>
                  </a:lnTo>
                  <a:lnTo>
                    <a:pt x="547" y="468"/>
                  </a:lnTo>
                  <a:lnTo>
                    <a:pt x="543" y="455"/>
                  </a:lnTo>
                  <a:lnTo>
                    <a:pt x="540" y="442"/>
                  </a:lnTo>
                  <a:lnTo>
                    <a:pt x="537" y="427"/>
                  </a:lnTo>
                  <a:lnTo>
                    <a:pt x="536" y="413"/>
                  </a:lnTo>
                  <a:lnTo>
                    <a:pt x="536" y="397"/>
                  </a:lnTo>
                  <a:lnTo>
                    <a:pt x="536" y="179"/>
                  </a:lnTo>
                  <a:lnTo>
                    <a:pt x="537" y="168"/>
                  </a:lnTo>
                  <a:lnTo>
                    <a:pt x="540" y="156"/>
                  </a:lnTo>
                  <a:lnTo>
                    <a:pt x="544" y="143"/>
                  </a:lnTo>
                  <a:lnTo>
                    <a:pt x="549" y="131"/>
                  </a:lnTo>
                  <a:lnTo>
                    <a:pt x="557" y="119"/>
                  </a:lnTo>
                  <a:lnTo>
                    <a:pt x="566" y="109"/>
                  </a:lnTo>
                  <a:lnTo>
                    <a:pt x="575" y="97"/>
                  </a:lnTo>
                  <a:lnTo>
                    <a:pt x="587" y="87"/>
                  </a:lnTo>
                  <a:lnTo>
                    <a:pt x="598" y="77"/>
                  </a:lnTo>
                  <a:lnTo>
                    <a:pt x="613" y="68"/>
                  </a:lnTo>
                  <a:lnTo>
                    <a:pt x="626" y="58"/>
                  </a:lnTo>
                  <a:lnTo>
                    <a:pt x="641" y="49"/>
                  </a:lnTo>
                  <a:lnTo>
                    <a:pt x="657" y="42"/>
                  </a:lnTo>
                  <a:lnTo>
                    <a:pt x="672" y="34"/>
                  </a:lnTo>
                  <a:lnTo>
                    <a:pt x="689" y="27"/>
                  </a:lnTo>
                  <a:lnTo>
                    <a:pt x="708" y="21"/>
                  </a:lnTo>
                  <a:lnTo>
                    <a:pt x="724" y="16"/>
                  </a:lnTo>
                  <a:lnTo>
                    <a:pt x="743" y="10"/>
                  </a:lnTo>
                  <a:lnTo>
                    <a:pt x="759" y="6"/>
                  </a:lnTo>
                  <a:lnTo>
                    <a:pt x="778" y="4"/>
                  </a:lnTo>
                  <a:lnTo>
                    <a:pt x="796" y="1"/>
                  </a:lnTo>
                  <a:lnTo>
                    <a:pt x="813" y="0"/>
                  </a:lnTo>
                  <a:lnTo>
                    <a:pt x="831" y="0"/>
                  </a:lnTo>
                  <a:lnTo>
                    <a:pt x="848" y="1"/>
                  </a:lnTo>
                  <a:lnTo>
                    <a:pt x="865" y="3"/>
                  </a:lnTo>
                  <a:lnTo>
                    <a:pt x="880" y="5"/>
                  </a:lnTo>
                  <a:lnTo>
                    <a:pt x="896" y="9"/>
                  </a:lnTo>
                  <a:lnTo>
                    <a:pt x="910" y="16"/>
                  </a:lnTo>
                  <a:lnTo>
                    <a:pt x="924" y="22"/>
                  </a:lnTo>
                  <a:lnTo>
                    <a:pt x="937" y="30"/>
                  </a:lnTo>
                  <a:lnTo>
                    <a:pt x="949" y="39"/>
                  </a:lnTo>
                  <a:lnTo>
                    <a:pt x="959" y="49"/>
                  </a:lnTo>
                  <a:lnTo>
                    <a:pt x="971" y="45"/>
                  </a:lnTo>
                  <a:lnTo>
                    <a:pt x="983" y="42"/>
                  </a:lnTo>
                  <a:lnTo>
                    <a:pt x="993" y="39"/>
                  </a:lnTo>
                  <a:lnTo>
                    <a:pt x="1004" y="38"/>
                  </a:lnTo>
                  <a:lnTo>
                    <a:pt x="1014" y="38"/>
                  </a:lnTo>
                  <a:lnTo>
                    <a:pt x="1023" y="38"/>
                  </a:lnTo>
                  <a:lnTo>
                    <a:pt x="1032" y="39"/>
                  </a:lnTo>
                  <a:lnTo>
                    <a:pt x="1041" y="40"/>
                  </a:lnTo>
                  <a:lnTo>
                    <a:pt x="1049" y="43"/>
                  </a:lnTo>
                  <a:lnTo>
                    <a:pt x="1057" y="47"/>
                  </a:lnTo>
                  <a:lnTo>
                    <a:pt x="1065" y="51"/>
                  </a:lnTo>
                  <a:lnTo>
                    <a:pt x="1072" y="55"/>
                  </a:lnTo>
                  <a:lnTo>
                    <a:pt x="1085" y="66"/>
                  </a:lnTo>
                  <a:lnTo>
                    <a:pt x="1097" y="81"/>
                  </a:lnTo>
                  <a:lnTo>
                    <a:pt x="1107" y="97"/>
                  </a:lnTo>
                  <a:lnTo>
                    <a:pt x="1116" y="116"/>
                  </a:lnTo>
                  <a:lnTo>
                    <a:pt x="1124" y="135"/>
                  </a:lnTo>
                  <a:lnTo>
                    <a:pt x="1131" y="157"/>
                  </a:lnTo>
                  <a:lnTo>
                    <a:pt x="1135" y="181"/>
                  </a:lnTo>
                  <a:lnTo>
                    <a:pt x="1139" y="205"/>
                  </a:lnTo>
                  <a:lnTo>
                    <a:pt x="1140" y="230"/>
                  </a:lnTo>
                  <a:lnTo>
                    <a:pt x="1141" y="257"/>
                  </a:lnTo>
                  <a:lnTo>
                    <a:pt x="1141" y="397"/>
                  </a:lnTo>
                  <a:lnTo>
                    <a:pt x="1140" y="413"/>
                  </a:lnTo>
                  <a:lnTo>
                    <a:pt x="1139" y="427"/>
                  </a:lnTo>
                  <a:lnTo>
                    <a:pt x="1137" y="442"/>
                  </a:lnTo>
                  <a:lnTo>
                    <a:pt x="1133" y="455"/>
                  </a:lnTo>
                  <a:lnTo>
                    <a:pt x="1129" y="468"/>
                  </a:lnTo>
                  <a:lnTo>
                    <a:pt x="1126" y="481"/>
                  </a:lnTo>
                  <a:lnTo>
                    <a:pt x="1120" y="492"/>
                  </a:lnTo>
                  <a:lnTo>
                    <a:pt x="1114" y="504"/>
                  </a:lnTo>
                  <a:close/>
                  <a:moveTo>
                    <a:pt x="619" y="313"/>
                  </a:moveTo>
                  <a:lnTo>
                    <a:pt x="619" y="313"/>
                  </a:lnTo>
                  <a:lnTo>
                    <a:pt x="615" y="329"/>
                  </a:lnTo>
                  <a:lnTo>
                    <a:pt x="613" y="346"/>
                  </a:lnTo>
                  <a:lnTo>
                    <a:pt x="611" y="362"/>
                  </a:lnTo>
                  <a:lnTo>
                    <a:pt x="611" y="379"/>
                  </a:lnTo>
                  <a:lnTo>
                    <a:pt x="611" y="455"/>
                  </a:lnTo>
                  <a:lnTo>
                    <a:pt x="611" y="471"/>
                  </a:lnTo>
                  <a:lnTo>
                    <a:pt x="613" y="488"/>
                  </a:lnTo>
                  <a:lnTo>
                    <a:pt x="615" y="505"/>
                  </a:lnTo>
                  <a:lnTo>
                    <a:pt x="619" y="522"/>
                  </a:lnTo>
                  <a:lnTo>
                    <a:pt x="623" y="538"/>
                  </a:lnTo>
                  <a:lnTo>
                    <a:pt x="628" y="553"/>
                  </a:lnTo>
                  <a:lnTo>
                    <a:pt x="635" y="569"/>
                  </a:lnTo>
                  <a:lnTo>
                    <a:pt x="641" y="583"/>
                  </a:lnTo>
                  <a:lnTo>
                    <a:pt x="649" y="597"/>
                  </a:lnTo>
                  <a:lnTo>
                    <a:pt x="657" y="610"/>
                  </a:lnTo>
                  <a:lnTo>
                    <a:pt x="667" y="625"/>
                  </a:lnTo>
                  <a:lnTo>
                    <a:pt x="676" y="636"/>
                  </a:lnTo>
                  <a:lnTo>
                    <a:pt x="688" y="648"/>
                  </a:lnTo>
                  <a:lnTo>
                    <a:pt x="698" y="659"/>
                  </a:lnTo>
                  <a:lnTo>
                    <a:pt x="711" y="669"/>
                  </a:lnTo>
                  <a:lnTo>
                    <a:pt x="723" y="678"/>
                  </a:lnTo>
                  <a:lnTo>
                    <a:pt x="736" y="686"/>
                  </a:lnTo>
                  <a:lnTo>
                    <a:pt x="750" y="694"/>
                  </a:lnTo>
                  <a:lnTo>
                    <a:pt x="763" y="699"/>
                  </a:lnTo>
                  <a:lnTo>
                    <a:pt x="778" y="704"/>
                  </a:lnTo>
                  <a:lnTo>
                    <a:pt x="793" y="708"/>
                  </a:lnTo>
                  <a:lnTo>
                    <a:pt x="808" y="712"/>
                  </a:lnTo>
                  <a:lnTo>
                    <a:pt x="823" y="713"/>
                  </a:lnTo>
                  <a:lnTo>
                    <a:pt x="839" y="713"/>
                  </a:lnTo>
                  <a:lnTo>
                    <a:pt x="854" y="713"/>
                  </a:lnTo>
                  <a:lnTo>
                    <a:pt x="869" y="712"/>
                  </a:lnTo>
                  <a:lnTo>
                    <a:pt x="884" y="708"/>
                  </a:lnTo>
                  <a:lnTo>
                    <a:pt x="898" y="704"/>
                  </a:lnTo>
                  <a:lnTo>
                    <a:pt x="913" y="699"/>
                  </a:lnTo>
                  <a:lnTo>
                    <a:pt x="927" y="694"/>
                  </a:lnTo>
                  <a:lnTo>
                    <a:pt x="940" y="686"/>
                  </a:lnTo>
                  <a:lnTo>
                    <a:pt x="953" y="678"/>
                  </a:lnTo>
                  <a:lnTo>
                    <a:pt x="966" y="669"/>
                  </a:lnTo>
                  <a:lnTo>
                    <a:pt x="978" y="660"/>
                  </a:lnTo>
                  <a:lnTo>
                    <a:pt x="988" y="648"/>
                  </a:lnTo>
                  <a:lnTo>
                    <a:pt x="1000" y="638"/>
                  </a:lnTo>
                  <a:lnTo>
                    <a:pt x="1009" y="625"/>
                  </a:lnTo>
                  <a:lnTo>
                    <a:pt x="1019" y="612"/>
                  </a:lnTo>
                  <a:lnTo>
                    <a:pt x="1027" y="599"/>
                  </a:lnTo>
                  <a:lnTo>
                    <a:pt x="1035" y="584"/>
                  </a:lnTo>
                  <a:lnTo>
                    <a:pt x="1042" y="569"/>
                  </a:lnTo>
                  <a:lnTo>
                    <a:pt x="1048" y="555"/>
                  </a:lnTo>
                  <a:lnTo>
                    <a:pt x="1053" y="539"/>
                  </a:lnTo>
                  <a:lnTo>
                    <a:pt x="1058" y="523"/>
                  </a:lnTo>
                  <a:lnTo>
                    <a:pt x="1061" y="507"/>
                  </a:lnTo>
                  <a:lnTo>
                    <a:pt x="1063" y="490"/>
                  </a:lnTo>
                  <a:lnTo>
                    <a:pt x="1065" y="471"/>
                  </a:lnTo>
                  <a:lnTo>
                    <a:pt x="1066" y="455"/>
                  </a:lnTo>
                  <a:lnTo>
                    <a:pt x="1066" y="379"/>
                  </a:lnTo>
                  <a:lnTo>
                    <a:pt x="1065" y="349"/>
                  </a:lnTo>
                  <a:lnTo>
                    <a:pt x="1059" y="320"/>
                  </a:lnTo>
                  <a:lnTo>
                    <a:pt x="1053" y="292"/>
                  </a:lnTo>
                  <a:lnTo>
                    <a:pt x="1042" y="266"/>
                  </a:lnTo>
                  <a:lnTo>
                    <a:pt x="1031" y="242"/>
                  </a:lnTo>
                  <a:lnTo>
                    <a:pt x="1017" y="218"/>
                  </a:lnTo>
                  <a:lnTo>
                    <a:pt x="1001" y="197"/>
                  </a:lnTo>
                  <a:lnTo>
                    <a:pt x="983" y="179"/>
                  </a:lnTo>
                  <a:lnTo>
                    <a:pt x="940" y="200"/>
                  </a:lnTo>
                  <a:lnTo>
                    <a:pt x="896" y="221"/>
                  </a:lnTo>
                  <a:lnTo>
                    <a:pt x="850" y="239"/>
                  </a:lnTo>
                  <a:lnTo>
                    <a:pt x="806" y="256"/>
                  </a:lnTo>
                  <a:lnTo>
                    <a:pt x="759" y="273"/>
                  </a:lnTo>
                  <a:lnTo>
                    <a:pt x="714" y="287"/>
                  </a:lnTo>
                  <a:lnTo>
                    <a:pt x="666" y="300"/>
                  </a:lnTo>
                  <a:lnTo>
                    <a:pt x="619" y="31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808080"/>
                </a:solidFill>
                <a:latin typeface="+mn-lt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4028518" y="3964629"/>
            <a:ext cx="17674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Предъявление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 к акцепту</a:t>
            </a:r>
          </a:p>
        </p:txBody>
      </p:sp>
      <p:cxnSp>
        <p:nvCxnSpPr>
          <p:cNvPr id="35" name="Прямая со стрелкой 34"/>
          <p:cNvCxnSpPr/>
          <p:nvPr/>
        </p:nvCxnSpPr>
        <p:spPr bwMode="auto">
          <a:xfrm flipH="1" flipV="1">
            <a:off x="3577828" y="4683043"/>
            <a:ext cx="2693183" cy="1667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 стрелкой 35"/>
          <p:cNvCxnSpPr/>
          <p:nvPr/>
        </p:nvCxnSpPr>
        <p:spPr bwMode="auto">
          <a:xfrm flipV="1">
            <a:off x="3001763" y="3125748"/>
            <a:ext cx="0" cy="108498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Box 36"/>
          <p:cNvSpPr txBox="1"/>
          <p:nvPr/>
        </p:nvSpPr>
        <p:spPr>
          <a:xfrm>
            <a:off x="1171776" y="3236997"/>
            <a:ext cx="16975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Уведомление</a:t>
            </a:r>
          </a:p>
          <a:p>
            <a:pPr marL="342900" indent="-1651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об акцепте</a:t>
            </a:r>
          </a:p>
          <a:p>
            <a:pPr marL="342900" indent="-1651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о протесте</a:t>
            </a:r>
          </a:p>
        </p:txBody>
      </p:sp>
    </p:spTree>
    <p:extLst>
      <p:ext uri="{BB962C8B-B14F-4D97-AF65-F5344CB8AC3E}">
        <p14:creationId xmlns:p14="http://schemas.microsoft.com/office/powerpoint/2010/main" val="26265567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Прямая со стрелкой 69"/>
          <p:cNvCxnSpPr/>
          <p:nvPr/>
        </p:nvCxnSpPr>
        <p:spPr>
          <a:xfrm>
            <a:off x="5039277" y="4437906"/>
            <a:ext cx="2678864" cy="0"/>
          </a:xfrm>
          <a:prstGeom prst="straightConnector1">
            <a:avLst/>
          </a:prstGeom>
          <a:ln w="15875">
            <a:solidFill>
              <a:srgbClr val="F6BB42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>
            <a:off x="5039277" y="2421682"/>
            <a:ext cx="2678864" cy="0"/>
          </a:xfrm>
          <a:prstGeom prst="straightConnector1">
            <a:avLst/>
          </a:prstGeom>
          <a:ln w="15875">
            <a:solidFill>
              <a:srgbClr val="14AA96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ерации с прочими ценными бумагам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64629" y="1332270"/>
            <a:ext cx="4794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14AA96"/>
                </a:solidFill>
              </a:rPr>
              <a:t>Собственные биржевые ценные бумаг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522839" y="2687879"/>
            <a:ext cx="1193341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14AA96"/>
                </a:solidFill>
              </a:rPr>
              <a:t>Эмитент</a:t>
            </a:r>
          </a:p>
        </p:txBody>
      </p:sp>
      <p:sp>
        <p:nvSpPr>
          <p:cNvPr id="7" name="Freeform 100"/>
          <p:cNvSpPr>
            <a:spLocks noChangeAspect="1" noEditPoints="1"/>
          </p:cNvSpPr>
          <p:nvPr/>
        </p:nvSpPr>
        <p:spPr bwMode="auto">
          <a:xfrm>
            <a:off x="2970284" y="1830621"/>
            <a:ext cx="298450" cy="766763"/>
          </a:xfrm>
          <a:custGeom>
            <a:avLst/>
            <a:gdLst>
              <a:gd name="T0" fmla="*/ 2147483647 w 1850"/>
              <a:gd name="T1" fmla="*/ 2147483647 h 4763"/>
              <a:gd name="T2" fmla="*/ 0 w 1850"/>
              <a:gd name="T3" fmla="*/ 2147483647 h 4763"/>
              <a:gd name="T4" fmla="*/ 2147483647 w 1850"/>
              <a:gd name="T5" fmla="*/ 2147483647 h 4763"/>
              <a:gd name="T6" fmla="*/ 2147483647 w 1850"/>
              <a:gd name="T7" fmla="*/ 2147483647 h 4763"/>
              <a:gd name="T8" fmla="*/ 2147483647 w 1850"/>
              <a:gd name="T9" fmla="*/ 2147483647 h 4763"/>
              <a:gd name="T10" fmla="*/ 2147483647 w 1850"/>
              <a:gd name="T11" fmla="*/ 2147483647 h 4763"/>
              <a:gd name="T12" fmla="*/ 2147483647 w 1850"/>
              <a:gd name="T13" fmla="*/ 2147483647 h 4763"/>
              <a:gd name="T14" fmla="*/ 2147483647 w 1850"/>
              <a:gd name="T15" fmla="*/ 2147483647 h 4763"/>
              <a:gd name="T16" fmla="*/ 2147483647 w 1850"/>
              <a:gd name="T17" fmla="*/ 2147483647 h 4763"/>
              <a:gd name="T18" fmla="*/ 2147483647 w 1850"/>
              <a:gd name="T19" fmla="*/ 2147483647 h 4763"/>
              <a:gd name="T20" fmla="*/ 2147483647 w 1850"/>
              <a:gd name="T21" fmla="*/ 2147483647 h 4763"/>
              <a:gd name="T22" fmla="*/ 2147483647 w 1850"/>
              <a:gd name="T23" fmla="*/ 2147483647 h 4763"/>
              <a:gd name="T24" fmla="*/ 2147483647 w 1850"/>
              <a:gd name="T25" fmla="*/ 2147483647 h 4763"/>
              <a:gd name="T26" fmla="*/ 2147483647 w 1850"/>
              <a:gd name="T27" fmla="*/ 2147483647 h 4763"/>
              <a:gd name="T28" fmla="*/ 2147483647 w 1850"/>
              <a:gd name="T29" fmla="*/ 2147483647 h 4763"/>
              <a:gd name="T30" fmla="*/ 2147483647 w 1850"/>
              <a:gd name="T31" fmla="*/ 2147483647 h 4763"/>
              <a:gd name="T32" fmla="*/ 2147483647 w 1850"/>
              <a:gd name="T33" fmla="*/ 2147483647 h 4763"/>
              <a:gd name="T34" fmla="*/ 2147483647 w 1850"/>
              <a:gd name="T35" fmla="*/ 2147483647 h 4763"/>
              <a:gd name="T36" fmla="*/ 2147483647 w 1850"/>
              <a:gd name="T37" fmla="*/ 2147483647 h 4763"/>
              <a:gd name="T38" fmla="*/ 2147483647 w 1850"/>
              <a:gd name="T39" fmla="*/ 2147483647 h 4763"/>
              <a:gd name="T40" fmla="*/ 2147483647 w 1850"/>
              <a:gd name="T41" fmla="*/ 2147483647 h 4763"/>
              <a:gd name="T42" fmla="*/ 2147483647 w 1850"/>
              <a:gd name="T43" fmla="*/ 2147483647 h 4763"/>
              <a:gd name="T44" fmla="*/ 2147483647 w 1850"/>
              <a:gd name="T45" fmla="*/ 2147483647 h 4763"/>
              <a:gd name="T46" fmla="*/ 2147483647 w 1850"/>
              <a:gd name="T47" fmla="*/ 2147483647 h 4763"/>
              <a:gd name="T48" fmla="*/ 2147483647 w 1850"/>
              <a:gd name="T49" fmla="*/ 2147483647 h 4763"/>
              <a:gd name="T50" fmla="*/ 2147483647 w 1850"/>
              <a:gd name="T51" fmla="*/ 2147483647 h 4763"/>
              <a:gd name="T52" fmla="*/ 2147483647 w 1850"/>
              <a:gd name="T53" fmla="*/ 2147483647 h 4763"/>
              <a:gd name="T54" fmla="*/ 2147483647 w 1850"/>
              <a:gd name="T55" fmla="*/ 2147483647 h 4763"/>
              <a:gd name="T56" fmla="*/ 2147483647 w 1850"/>
              <a:gd name="T57" fmla="*/ 2147483647 h 4763"/>
              <a:gd name="T58" fmla="*/ 2147483647 w 1850"/>
              <a:gd name="T59" fmla="*/ 2147483647 h 4763"/>
              <a:gd name="T60" fmla="*/ 2147483647 w 1850"/>
              <a:gd name="T61" fmla="*/ 2147483647 h 4763"/>
              <a:gd name="T62" fmla="*/ 2147483647 w 1850"/>
              <a:gd name="T63" fmla="*/ 2147483647 h 4763"/>
              <a:gd name="T64" fmla="*/ 2147483647 w 1850"/>
              <a:gd name="T65" fmla="*/ 2147483647 h 4763"/>
              <a:gd name="T66" fmla="*/ 2147483647 w 1850"/>
              <a:gd name="T67" fmla="*/ 2147483647 h 4763"/>
              <a:gd name="T68" fmla="*/ 2147483647 w 1850"/>
              <a:gd name="T69" fmla="*/ 2147483647 h 4763"/>
              <a:gd name="T70" fmla="*/ 2147483647 w 1850"/>
              <a:gd name="T71" fmla="*/ 2147483647 h 4763"/>
              <a:gd name="T72" fmla="*/ 2147483647 w 1850"/>
              <a:gd name="T73" fmla="*/ 2147483647 h 4763"/>
              <a:gd name="T74" fmla="*/ 2147483647 w 1850"/>
              <a:gd name="T75" fmla="*/ 2147483647 h 4763"/>
              <a:gd name="T76" fmla="*/ 2147483647 w 1850"/>
              <a:gd name="T77" fmla="*/ 2147483647 h 4763"/>
              <a:gd name="T78" fmla="*/ 2147483647 w 1850"/>
              <a:gd name="T79" fmla="*/ 2147483647 h 4763"/>
              <a:gd name="T80" fmla="*/ 2147483647 w 1850"/>
              <a:gd name="T81" fmla="*/ 2147483647 h 4763"/>
              <a:gd name="T82" fmla="*/ 2147483647 w 1850"/>
              <a:gd name="T83" fmla="*/ 2147483647 h 4763"/>
              <a:gd name="T84" fmla="*/ 2147483647 w 1850"/>
              <a:gd name="T85" fmla="*/ 2147483647 h 4763"/>
              <a:gd name="T86" fmla="*/ 2147483647 w 1850"/>
              <a:gd name="T87" fmla="*/ 2147483647 h 4763"/>
              <a:gd name="T88" fmla="*/ 2147483647 w 1850"/>
              <a:gd name="T89" fmla="*/ 2147483647 h 4763"/>
              <a:gd name="T90" fmla="*/ 2147483647 w 1850"/>
              <a:gd name="T91" fmla="*/ 2147483647 h 4763"/>
              <a:gd name="T92" fmla="*/ 2147483647 w 1850"/>
              <a:gd name="T93" fmla="*/ 2147483647 h 4763"/>
              <a:gd name="T94" fmla="*/ 2147483647 w 1850"/>
              <a:gd name="T95" fmla="*/ 2147483647 h 4763"/>
              <a:gd name="T96" fmla="*/ 2147483647 w 1850"/>
              <a:gd name="T97" fmla="*/ 2147483647 h 4763"/>
              <a:gd name="T98" fmla="*/ 2147483647 w 1850"/>
              <a:gd name="T99" fmla="*/ 2147483647 h 4763"/>
              <a:gd name="T100" fmla="*/ 2147483647 w 1850"/>
              <a:gd name="T101" fmla="*/ 2147483647 h 4763"/>
              <a:gd name="T102" fmla="*/ 2147483647 w 1850"/>
              <a:gd name="T103" fmla="*/ 2147483647 h 4763"/>
              <a:gd name="T104" fmla="*/ 2147483647 w 1850"/>
              <a:gd name="T105" fmla="*/ 2147483647 h 4763"/>
              <a:gd name="T106" fmla="*/ 2147483647 w 1850"/>
              <a:gd name="T107" fmla="*/ 2147483647 h 4763"/>
              <a:gd name="T108" fmla="*/ 2147483647 w 1850"/>
              <a:gd name="T109" fmla="*/ 2147483647 h 4763"/>
              <a:gd name="T110" fmla="*/ 2147483647 w 1850"/>
              <a:gd name="T111" fmla="*/ 2147483647 h 4763"/>
              <a:gd name="T112" fmla="*/ 2147483647 w 1850"/>
              <a:gd name="T113" fmla="*/ 2147483647 h 4763"/>
              <a:gd name="T114" fmla="*/ 2147483647 w 1850"/>
              <a:gd name="T115" fmla="*/ 2147483647 h 4763"/>
              <a:gd name="T116" fmla="*/ 2147483647 w 1850"/>
              <a:gd name="T117" fmla="*/ 2147483647 h 4763"/>
              <a:gd name="T118" fmla="*/ 2147483647 w 185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50"/>
              <a:gd name="T181" fmla="*/ 0 h 4763"/>
              <a:gd name="T182" fmla="*/ 1850 w 185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50" h="4763">
                <a:moveTo>
                  <a:pt x="352" y="3267"/>
                </a:moveTo>
                <a:lnTo>
                  <a:pt x="153" y="3107"/>
                </a:lnTo>
                <a:lnTo>
                  <a:pt x="70" y="2776"/>
                </a:lnTo>
                <a:lnTo>
                  <a:pt x="123" y="2776"/>
                </a:lnTo>
                <a:lnTo>
                  <a:pt x="200" y="3077"/>
                </a:lnTo>
                <a:lnTo>
                  <a:pt x="348" y="3198"/>
                </a:lnTo>
                <a:lnTo>
                  <a:pt x="326" y="2724"/>
                </a:lnTo>
                <a:lnTo>
                  <a:pt x="271" y="2724"/>
                </a:lnTo>
                <a:lnTo>
                  <a:pt x="110" y="2724"/>
                </a:lnTo>
                <a:lnTo>
                  <a:pt x="57" y="2724"/>
                </a:lnTo>
                <a:lnTo>
                  <a:pt x="0" y="2724"/>
                </a:lnTo>
                <a:lnTo>
                  <a:pt x="0" y="1160"/>
                </a:lnTo>
                <a:lnTo>
                  <a:pt x="0" y="1139"/>
                </a:lnTo>
                <a:lnTo>
                  <a:pt x="4" y="1121"/>
                </a:lnTo>
                <a:lnTo>
                  <a:pt x="9" y="1103"/>
                </a:lnTo>
                <a:lnTo>
                  <a:pt x="16" y="1087"/>
                </a:lnTo>
                <a:lnTo>
                  <a:pt x="23" y="1073"/>
                </a:lnTo>
                <a:lnTo>
                  <a:pt x="34" y="1059"/>
                </a:lnTo>
                <a:lnTo>
                  <a:pt x="45" y="1047"/>
                </a:lnTo>
                <a:lnTo>
                  <a:pt x="57" y="1035"/>
                </a:lnTo>
                <a:lnTo>
                  <a:pt x="71" y="1025"/>
                </a:lnTo>
                <a:lnTo>
                  <a:pt x="87" y="1016"/>
                </a:lnTo>
                <a:lnTo>
                  <a:pt x="103" y="1007"/>
                </a:lnTo>
                <a:lnTo>
                  <a:pt x="121" y="998"/>
                </a:lnTo>
                <a:lnTo>
                  <a:pt x="157" y="982"/>
                </a:lnTo>
                <a:lnTo>
                  <a:pt x="196" y="968"/>
                </a:lnTo>
                <a:lnTo>
                  <a:pt x="592" y="823"/>
                </a:lnTo>
                <a:lnTo>
                  <a:pt x="719" y="1576"/>
                </a:lnTo>
                <a:lnTo>
                  <a:pt x="780" y="1033"/>
                </a:lnTo>
                <a:lnTo>
                  <a:pt x="766" y="1025"/>
                </a:lnTo>
                <a:lnTo>
                  <a:pt x="753" y="1016"/>
                </a:lnTo>
                <a:lnTo>
                  <a:pt x="741" y="1004"/>
                </a:lnTo>
                <a:lnTo>
                  <a:pt x="732" y="991"/>
                </a:lnTo>
                <a:lnTo>
                  <a:pt x="831" y="898"/>
                </a:lnTo>
                <a:lnTo>
                  <a:pt x="930" y="991"/>
                </a:lnTo>
                <a:lnTo>
                  <a:pt x="920" y="1004"/>
                </a:lnTo>
                <a:lnTo>
                  <a:pt x="909" y="1016"/>
                </a:lnTo>
                <a:lnTo>
                  <a:pt x="897" y="1025"/>
                </a:lnTo>
                <a:lnTo>
                  <a:pt x="883" y="1033"/>
                </a:lnTo>
                <a:lnTo>
                  <a:pt x="943" y="1576"/>
                </a:lnTo>
                <a:lnTo>
                  <a:pt x="1070" y="823"/>
                </a:lnTo>
                <a:lnTo>
                  <a:pt x="1466" y="968"/>
                </a:lnTo>
                <a:lnTo>
                  <a:pt x="1505" y="982"/>
                </a:lnTo>
                <a:lnTo>
                  <a:pt x="1540" y="998"/>
                </a:lnTo>
                <a:lnTo>
                  <a:pt x="1555" y="1007"/>
                </a:lnTo>
                <a:lnTo>
                  <a:pt x="1571" y="1016"/>
                </a:lnTo>
                <a:lnTo>
                  <a:pt x="1584" y="1025"/>
                </a:lnTo>
                <a:lnTo>
                  <a:pt x="1597" y="1037"/>
                </a:lnTo>
                <a:lnTo>
                  <a:pt x="1610" y="1047"/>
                </a:lnTo>
                <a:lnTo>
                  <a:pt x="1620" y="1060"/>
                </a:lnTo>
                <a:lnTo>
                  <a:pt x="1631" y="1073"/>
                </a:lnTo>
                <a:lnTo>
                  <a:pt x="1638" y="1087"/>
                </a:lnTo>
                <a:lnTo>
                  <a:pt x="1646" y="1104"/>
                </a:lnTo>
                <a:lnTo>
                  <a:pt x="1653" y="1121"/>
                </a:lnTo>
                <a:lnTo>
                  <a:pt x="1658" y="1139"/>
                </a:lnTo>
                <a:lnTo>
                  <a:pt x="1663" y="1160"/>
                </a:lnTo>
                <a:lnTo>
                  <a:pt x="1842" y="2208"/>
                </a:lnTo>
                <a:lnTo>
                  <a:pt x="1422" y="2208"/>
                </a:lnTo>
                <a:lnTo>
                  <a:pt x="1449" y="2260"/>
                </a:lnTo>
                <a:lnTo>
                  <a:pt x="1850" y="2260"/>
                </a:lnTo>
                <a:lnTo>
                  <a:pt x="1850" y="2321"/>
                </a:lnTo>
                <a:lnTo>
                  <a:pt x="1733" y="2321"/>
                </a:lnTo>
                <a:lnTo>
                  <a:pt x="1422" y="2321"/>
                </a:lnTo>
                <a:lnTo>
                  <a:pt x="1340" y="2163"/>
                </a:lnTo>
                <a:lnTo>
                  <a:pt x="1333" y="2154"/>
                </a:lnTo>
                <a:lnTo>
                  <a:pt x="1328" y="2144"/>
                </a:lnTo>
                <a:lnTo>
                  <a:pt x="1322" y="2137"/>
                </a:lnTo>
                <a:lnTo>
                  <a:pt x="1315" y="2130"/>
                </a:lnTo>
                <a:lnTo>
                  <a:pt x="1301" y="2118"/>
                </a:lnTo>
                <a:lnTo>
                  <a:pt x="1287" y="2111"/>
                </a:lnTo>
                <a:lnTo>
                  <a:pt x="1272" y="2105"/>
                </a:lnTo>
                <a:lnTo>
                  <a:pt x="1258" y="2103"/>
                </a:lnTo>
                <a:lnTo>
                  <a:pt x="1244" y="2102"/>
                </a:lnTo>
                <a:lnTo>
                  <a:pt x="1229" y="2104"/>
                </a:lnTo>
                <a:lnTo>
                  <a:pt x="1215" y="2107"/>
                </a:lnTo>
                <a:lnTo>
                  <a:pt x="1203" y="2111"/>
                </a:lnTo>
                <a:lnTo>
                  <a:pt x="1192" y="2116"/>
                </a:lnTo>
                <a:lnTo>
                  <a:pt x="1183" y="2122"/>
                </a:lnTo>
                <a:lnTo>
                  <a:pt x="1174" y="2129"/>
                </a:lnTo>
                <a:lnTo>
                  <a:pt x="1168" y="2135"/>
                </a:lnTo>
                <a:lnTo>
                  <a:pt x="1165" y="2141"/>
                </a:lnTo>
                <a:lnTo>
                  <a:pt x="1162" y="2147"/>
                </a:lnTo>
                <a:lnTo>
                  <a:pt x="1157" y="2387"/>
                </a:lnTo>
                <a:lnTo>
                  <a:pt x="1157" y="2402"/>
                </a:lnTo>
                <a:lnTo>
                  <a:pt x="1159" y="2415"/>
                </a:lnTo>
                <a:lnTo>
                  <a:pt x="1162" y="2428"/>
                </a:lnTo>
                <a:lnTo>
                  <a:pt x="1166" y="2439"/>
                </a:lnTo>
                <a:lnTo>
                  <a:pt x="1171" y="2450"/>
                </a:lnTo>
                <a:lnTo>
                  <a:pt x="1176" y="2460"/>
                </a:lnTo>
                <a:lnTo>
                  <a:pt x="1184" y="2469"/>
                </a:lnTo>
                <a:lnTo>
                  <a:pt x="1192" y="2478"/>
                </a:lnTo>
                <a:lnTo>
                  <a:pt x="1200" y="2486"/>
                </a:lnTo>
                <a:lnTo>
                  <a:pt x="1210" y="2494"/>
                </a:lnTo>
                <a:lnTo>
                  <a:pt x="1220" y="2500"/>
                </a:lnTo>
                <a:lnTo>
                  <a:pt x="1231" y="2506"/>
                </a:lnTo>
                <a:lnTo>
                  <a:pt x="1242" y="2511"/>
                </a:lnTo>
                <a:lnTo>
                  <a:pt x="1254" y="2516"/>
                </a:lnTo>
                <a:lnTo>
                  <a:pt x="1279" y="2522"/>
                </a:lnTo>
                <a:lnTo>
                  <a:pt x="1305" y="2526"/>
                </a:lnTo>
                <a:lnTo>
                  <a:pt x="1332" y="2528"/>
                </a:lnTo>
                <a:lnTo>
                  <a:pt x="1359" y="2526"/>
                </a:lnTo>
                <a:lnTo>
                  <a:pt x="1385" y="2522"/>
                </a:lnTo>
                <a:lnTo>
                  <a:pt x="1411" y="2515"/>
                </a:lnTo>
                <a:lnTo>
                  <a:pt x="1437" y="2506"/>
                </a:lnTo>
                <a:lnTo>
                  <a:pt x="1459" y="2495"/>
                </a:lnTo>
                <a:lnTo>
                  <a:pt x="1471" y="2489"/>
                </a:lnTo>
                <a:lnTo>
                  <a:pt x="1480" y="2481"/>
                </a:lnTo>
                <a:lnTo>
                  <a:pt x="1620" y="2373"/>
                </a:lnTo>
                <a:lnTo>
                  <a:pt x="1705" y="2373"/>
                </a:lnTo>
                <a:lnTo>
                  <a:pt x="1512" y="2522"/>
                </a:lnTo>
                <a:lnTo>
                  <a:pt x="1498" y="2532"/>
                </a:lnTo>
                <a:lnTo>
                  <a:pt x="1483" y="2541"/>
                </a:lnTo>
                <a:lnTo>
                  <a:pt x="1464" y="2548"/>
                </a:lnTo>
                <a:lnTo>
                  <a:pt x="1446" y="2556"/>
                </a:lnTo>
                <a:lnTo>
                  <a:pt x="1345" y="4763"/>
                </a:lnTo>
                <a:lnTo>
                  <a:pt x="909" y="4763"/>
                </a:lnTo>
                <a:lnTo>
                  <a:pt x="909" y="2771"/>
                </a:lnTo>
                <a:lnTo>
                  <a:pt x="857" y="2771"/>
                </a:lnTo>
                <a:lnTo>
                  <a:pt x="857" y="4763"/>
                </a:lnTo>
                <a:lnTo>
                  <a:pt x="421" y="4763"/>
                </a:lnTo>
                <a:lnTo>
                  <a:pt x="352" y="3267"/>
                </a:lnTo>
                <a:close/>
                <a:moveTo>
                  <a:pt x="1106" y="2321"/>
                </a:moveTo>
                <a:lnTo>
                  <a:pt x="645" y="2321"/>
                </a:lnTo>
                <a:lnTo>
                  <a:pt x="645" y="2372"/>
                </a:lnTo>
                <a:lnTo>
                  <a:pt x="1105" y="2372"/>
                </a:lnTo>
                <a:lnTo>
                  <a:pt x="1106" y="2321"/>
                </a:lnTo>
                <a:close/>
                <a:moveTo>
                  <a:pt x="1109" y="2208"/>
                </a:moveTo>
                <a:lnTo>
                  <a:pt x="645" y="2208"/>
                </a:lnTo>
                <a:lnTo>
                  <a:pt x="645" y="2260"/>
                </a:lnTo>
                <a:lnTo>
                  <a:pt x="1107" y="2260"/>
                </a:lnTo>
                <a:lnTo>
                  <a:pt x="1109" y="2208"/>
                </a:lnTo>
                <a:close/>
                <a:moveTo>
                  <a:pt x="1393" y="2152"/>
                </a:moveTo>
                <a:lnTo>
                  <a:pt x="1773" y="2152"/>
                </a:lnTo>
                <a:lnTo>
                  <a:pt x="1606" y="1820"/>
                </a:lnTo>
                <a:lnTo>
                  <a:pt x="660" y="1820"/>
                </a:lnTo>
                <a:lnTo>
                  <a:pt x="640" y="2152"/>
                </a:lnTo>
                <a:lnTo>
                  <a:pt x="1110" y="2152"/>
                </a:lnTo>
                <a:lnTo>
                  <a:pt x="1110" y="2146"/>
                </a:lnTo>
                <a:lnTo>
                  <a:pt x="1111" y="2134"/>
                </a:lnTo>
                <a:lnTo>
                  <a:pt x="1114" y="2124"/>
                </a:lnTo>
                <a:lnTo>
                  <a:pt x="1116" y="2115"/>
                </a:lnTo>
                <a:lnTo>
                  <a:pt x="1120" y="2105"/>
                </a:lnTo>
                <a:lnTo>
                  <a:pt x="1126" y="2096"/>
                </a:lnTo>
                <a:lnTo>
                  <a:pt x="1132" y="2089"/>
                </a:lnTo>
                <a:lnTo>
                  <a:pt x="1139" y="2082"/>
                </a:lnTo>
                <a:lnTo>
                  <a:pt x="1146" y="2076"/>
                </a:lnTo>
                <a:lnTo>
                  <a:pt x="1154" y="2070"/>
                </a:lnTo>
                <a:lnTo>
                  <a:pt x="1163" y="2065"/>
                </a:lnTo>
                <a:lnTo>
                  <a:pt x="1172" y="2061"/>
                </a:lnTo>
                <a:lnTo>
                  <a:pt x="1183" y="2059"/>
                </a:lnTo>
                <a:lnTo>
                  <a:pt x="1203" y="2054"/>
                </a:lnTo>
                <a:lnTo>
                  <a:pt x="1226" y="2052"/>
                </a:lnTo>
                <a:lnTo>
                  <a:pt x="1249" y="2054"/>
                </a:lnTo>
                <a:lnTo>
                  <a:pt x="1271" y="2057"/>
                </a:lnTo>
                <a:lnTo>
                  <a:pt x="1294" y="2064"/>
                </a:lnTo>
                <a:lnTo>
                  <a:pt x="1316" y="2073"/>
                </a:lnTo>
                <a:lnTo>
                  <a:pt x="1327" y="2078"/>
                </a:lnTo>
                <a:lnTo>
                  <a:pt x="1337" y="2085"/>
                </a:lnTo>
                <a:lnTo>
                  <a:pt x="1346" y="2092"/>
                </a:lnTo>
                <a:lnTo>
                  <a:pt x="1355" y="2100"/>
                </a:lnTo>
                <a:lnTo>
                  <a:pt x="1364" y="2108"/>
                </a:lnTo>
                <a:lnTo>
                  <a:pt x="1372" y="2117"/>
                </a:lnTo>
                <a:lnTo>
                  <a:pt x="1379" y="2128"/>
                </a:lnTo>
                <a:lnTo>
                  <a:pt x="1385" y="2138"/>
                </a:lnTo>
                <a:lnTo>
                  <a:pt x="1393" y="2152"/>
                </a:lnTo>
                <a:close/>
                <a:moveTo>
                  <a:pt x="1114" y="504"/>
                </a:moveTo>
                <a:lnTo>
                  <a:pt x="1114" y="504"/>
                </a:lnTo>
                <a:lnTo>
                  <a:pt x="1109" y="531"/>
                </a:lnTo>
                <a:lnTo>
                  <a:pt x="1102" y="557"/>
                </a:lnTo>
                <a:lnTo>
                  <a:pt x="1093" y="583"/>
                </a:lnTo>
                <a:lnTo>
                  <a:pt x="1081" y="607"/>
                </a:lnTo>
                <a:lnTo>
                  <a:pt x="1068" y="630"/>
                </a:lnTo>
                <a:lnTo>
                  <a:pt x="1054" y="651"/>
                </a:lnTo>
                <a:lnTo>
                  <a:pt x="1039" y="672"/>
                </a:lnTo>
                <a:lnTo>
                  <a:pt x="1022" y="690"/>
                </a:lnTo>
                <a:lnTo>
                  <a:pt x="1002" y="707"/>
                </a:lnTo>
                <a:lnTo>
                  <a:pt x="981" y="721"/>
                </a:lnTo>
                <a:lnTo>
                  <a:pt x="961" y="734"/>
                </a:lnTo>
                <a:lnTo>
                  <a:pt x="939" y="746"/>
                </a:lnTo>
                <a:lnTo>
                  <a:pt x="914" y="755"/>
                </a:lnTo>
                <a:lnTo>
                  <a:pt x="889" y="760"/>
                </a:lnTo>
                <a:lnTo>
                  <a:pt x="865" y="764"/>
                </a:lnTo>
                <a:lnTo>
                  <a:pt x="839" y="765"/>
                </a:lnTo>
                <a:lnTo>
                  <a:pt x="813" y="764"/>
                </a:lnTo>
                <a:lnTo>
                  <a:pt x="787" y="760"/>
                </a:lnTo>
                <a:lnTo>
                  <a:pt x="762" y="753"/>
                </a:lnTo>
                <a:lnTo>
                  <a:pt x="739" y="746"/>
                </a:lnTo>
                <a:lnTo>
                  <a:pt x="715" y="734"/>
                </a:lnTo>
                <a:lnTo>
                  <a:pt x="695" y="721"/>
                </a:lnTo>
                <a:lnTo>
                  <a:pt x="674" y="707"/>
                </a:lnTo>
                <a:lnTo>
                  <a:pt x="656" y="690"/>
                </a:lnTo>
                <a:lnTo>
                  <a:pt x="637" y="670"/>
                </a:lnTo>
                <a:lnTo>
                  <a:pt x="622" y="651"/>
                </a:lnTo>
                <a:lnTo>
                  <a:pt x="608" y="629"/>
                </a:lnTo>
                <a:lnTo>
                  <a:pt x="595" y="607"/>
                </a:lnTo>
                <a:lnTo>
                  <a:pt x="584" y="582"/>
                </a:lnTo>
                <a:lnTo>
                  <a:pt x="575" y="557"/>
                </a:lnTo>
                <a:lnTo>
                  <a:pt x="567" y="530"/>
                </a:lnTo>
                <a:lnTo>
                  <a:pt x="563" y="503"/>
                </a:lnTo>
                <a:lnTo>
                  <a:pt x="557" y="492"/>
                </a:lnTo>
                <a:lnTo>
                  <a:pt x="552" y="479"/>
                </a:lnTo>
                <a:lnTo>
                  <a:pt x="547" y="468"/>
                </a:lnTo>
                <a:lnTo>
                  <a:pt x="543" y="455"/>
                </a:lnTo>
                <a:lnTo>
                  <a:pt x="540" y="442"/>
                </a:lnTo>
                <a:lnTo>
                  <a:pt x="537" y="427"/>
                </a:lnTo>
                <a:lnTo>
                  <a:pt x="536" y="413"/>
                </a:lnTo>
                <a:lnTo>
                  <a:pt x="536" y="397"/>
                </a:lnTo>
                <a:lnTo>
                  <a:pt x="536" y="179"/>
                </a:lnTo>
                <a:lnTo>
                  <a:pt x="537" y="168"/>
                </a:lnTo>
                <a:lnTo>
                  <a:pt x="540" y="156"/>
                </a:lnTo>
                <a:lnTo>
                  <a:pt x="544" y="143"/>
                </a:lnTo>
                <a:lnTo>
                  <a:pt x="549" y="131"/>
                </a:lnTo>
                <a:lnTo>
                  <a:pt x="557" y="119"/>
                </a:lnTo>
                <a:lnTo>
                  <a:pt x="566" y="109"/>
                </a:lnTo>
                <a:lnTo>
                  <a:pt x="575" y="97"/>
                </a:lnTo>
                <a:lnTo>
                  <a:pt x="587" y="87"/>
                </a:lnTo>
                <a:lnTo>
                  <a:pt x="598" y="77"/>
                </a:lnTo>
                <a:lnTo>
                  <a:pt x="613" y="68"/>
                </a:lnTo>
                <a:lnTo>
                  <a:pt x="626" y="58"/>
                </a:lnTo>
                <a:lnTo>
                  <a:pt x="641" y="49"/>
                </a:lnTo>
                <a:lnTo>
                  <a:pt x="657" y="42"/>
                </a:lnTo>
                <a:lnTo>
                  <a:pt x="672" y="34"/>
                </a:lnTo>
                <a:lnTo>
                  <a:pt x="689" y="27"/>
                </a:lnTo>
                <a:lnTo>
                  <a:pt x="708" y="21"/>
                </a:lnTo>
                <a:lnTo>
                  <a:pt x="724" y="16"/>
                </a:lnTo>
                <a:lnTo>
                  <a:pt x="743" y="10"/>
                </a:lnTo>
                <a:lnTo>
                  <a:pt x="759" y="6"/>
                </a:lnTo>
                <a:lnTo>
                  <a:pt x="778" y="4"/>
                </a:lnTo>
                <a:lnTo>
                  <a:pt x="796" y="1"/>
                </a:lnTo>
                <a:lnTo>
                  <a:pt x="813" y="0"/>
                </a:lnTo>
                <a:lnTo>
                  <a:pt x="831" y="0"/>
                </a:lnTo>
                <a:lnTo>
                  <a:pt x="848" y="1"/>
                </a:lnTo>
                <a:lnTo>
                  <a:pt x="865" y="3"/>
                </a:lnTo>
                <a:lnTo>
                  <a:pt x="880" y="5"/>
                </a:lnTo>
                <a:lnTo>
                  <a:pt x="896" y="9"/>
                </a:lnTo>
                <a:lnTo>
                  <a:pt x="910" y="16"/>
                </a:lnTo>
                <a:lnTo>
                  <a:pt x="924" y="22"/>
                </a:lnTo>
                <a:lnTo>
                  <a:pt x="937" y="30"/>
                </a:lnTo>
                <a:lnTo>
                  <a:pt x="949" y="39"/>
                </a:lnTo>
                <a:lnTo>
                  <a:pt x="959" y="49"/>
                </a:lnTo>
                <a:lnTo>
                  <a:pt x="971" y="45"/>
                </a:lnTo>
                <a:lnTo>
                  <a:pt x="983" y="42"/>
                </a:lnTo>
                <a:lnTo>
                  <a:pt x="993" y="39"/>
                </a:lnTo>
                <a:lnTo>
                  <a:pt x="1004" y="38"/>
                </a:lnTo>
                <a:lnTo>
                  <a:pt x="1014" y="38"/>
                </a:lnTo>
                <a:lnTo>
                  <a:pt x="1023" y="38"/>
                </a:lnTo>
                <a:lnTo>
                  <a:pt x="1032" y="39"/>
                </a:lnTo>
                <a:lnTo>
                  <a:pt x="1041" y="40"/>
                </a:lnTo>
                <a:lnTo>
                  <a:pt x="1049" y="43"/>
                </a:lnTo>
                <a:lnTo>
                  <a:pt x="1057" y="47"/>
                </a:lnTo>
                <a:lnTo>
                  <a:pt x="1065" y="51"/>
                </a:lnTo>
                <a:lnTo>
                  <a:pt x="1072" y="55"/>
                </a:lnTo>
                <a:lnTo>
                  <a:pt x="1085" y="66"/>
                </a:lnTo>
                <a:lnTo>
                  <a:pt x="1097" y="81"/>
                </a:lnTo>
                <a:lnTo>
                  <a:pt x="1107" y="97"/>
                </a:lnTo>
                <a:lnTo>
                  <a:pt x="1116" y="116"/>
                </a:lnTo>
                <a:lnTo>
                  <a:pt x="1124" y="135"/>
                </a:lnTo>
                <a:lnTo>
                  <a:pt x="1131" y="157"/>
                </a:lnTo>
                <a:lnTo>
                  <a:pt x="1135" y="181"/>
                </a:lnTo>
                <a:lnTo>
                  <a:pt x="1139" y="205"/>
                </a:lnTo>
                <a:lnTo>
                  <a:pt x="1140" y="230"/>
                </a:lnTo>
                <a:lnTo>
                  <a:pt x="1141" y="257"/>
                </a:lnTo>
                <a:lnTo>
                  <a:pt x="1141" y="397"/>
                </a:lnTo>
                <a:lnTo>
                  <a:pt x="1140" y="413"/>
                </a:lnTo>
                <a:lnTo>
                  <a:pt x="1139" y="427"/>
                </a:lnTo>
                <a:lnTo>
                  <a:pt x="1137" y="442"/>
                </a:lnTo>
                <a:lnTo>
                  <a:pt x="1133" y="455"/>
                </a:lnTo>
                <a:lnTo>
                  <a:pt x="1129" y="468"/>
                </a:lnTo>
                <a:lnTo>
                  <a:pt x="1126" y="481"/>
                </a:lnTo>
                <a:lnTo>
                  <a:pt x="1120" y="492"/>
                </a:lnTo>
                <a:lnTo>
                  <a:pt x="1114" y="504"/>
                </a:lnTo>
                <a:close/>
                <a:moveTo>
                  <a:pt x="619" y="313"/>
                </a:moveTo>
                <a:lnTo>
                  <a:pt x="619" y="313"/>
                </a:lnTo>
                <a:lnTo>
                  <a:pt x="615" y="329"/>
                </a:lnTo>
                <a:lnTo>
                  <a:pt x="613" y="346"/>
                </a:lnTo>
                <a:lnTo>
                  <a:pt x="611" y="362"/>
                </a:lnTo>
                <a:lnTo>
                  <a:pt x="611" y="379"/>
                </a:lnTo>
                <a:lnTo>
                  <a:pt x="611" y="455"/>
                </a:lnTo>
                <a:lnTo>
                  <a:pt x="611" y="471"/>
                </a:lnTo>
                <a:lnTo>
                  <a:pt x="613" y="488"/>
                </a:lnTo>
                <a:lnTo>
                  <a:pt x="615" y="505"/>
                </a:lnTo>
                <a:lnTo>
                  <a:pt x="619" y="522"/>
                </a:lnTo>
                <a:lnTo>
                  <a:pt x="623" y="538"/>
                </a:lnTo>
                <a:lnTo>
                  <a:pt x="628" y="553"/>
                </a:lnTo>
                <a:lnTo>
                  <a:pt x="635" y="569"/>
                </a:lnTo>
                <a:lnTo>
                  <a:pt x="641" y="583"/>
                </a:lnTo>
                <a:lnTo>
                  <a:pt x="649" y="597"/>
                </a:lnTo>
                <a:lnTo>
                  <a:pt x="657" y="610"/>
                </a:lnTo>
                <a:lnTo>
                  <a:pt x="667" y="625"/>
                </a:lnTo>
                <a:lnTo>
                  <a:pt x="676" y="636"/>
                </a:lnTo>
                <a:lnTo>
                  <a:pt x="688" y="648"/>
                </a:lnTo>
                <a:lnTo>
                  <a:pt x="698" y="659"/>
                </a:lnTo>
                <a:lnTo>
                  <a:pt x="711" y="669"/>
                </a:lnTo>
                <a:lnTo>
                  <a:pt x="723" y="678"/>
                </a:lnTo>
                <a:lnTo>
                  <a:pt x="736" y="686"/>
                </a:lnTo>
                <a:lnTo>
                  <a:pt x="750" y="694"/>
                </a:lnTo>
                <a:lnTo>
                  <a:pt x="763" y="699"/>
                </a:lnTo>
                <a:lnTo>
                  <a:pt x="778" y="704"/>
                </a:lnTo>
                <a:lnTo>
                  <a:pt x="793" y="708"/>
                </a:lnTo>
                <a:lnTo>
                  <a:pt x="808" y="712"/>
                </a:lnTo>
                <a:lnTo>
                  <a:pt x="823" y="713"/>
                </a:lnTo>
                <a:lnTo>
                  <a:pt x="839" y="713"/>
                </a:lnTo>
                <a:lnTo>
                  <a:pt x="854" y="713"/>
                </a:lnTo>
                <a:lnTo>
                  <a:pt x="869" y="712"/>
                </a:lnTo>
                <a:lnTo>
                  <a:pt x="884" y="708"/>
                </a:lnTo>
                <a:lnTo>
                  <a:pt x="898" y="704"/>
                </a:lnTo>
                <a:lnTo>
                  <a:pt x="913" y="699"/>
                </a:lnTo>
                <a:lnTo>
                  <a:pt x="927" y="694"/>
                </a:lnTo>
                <a:lnTo>
                  <a:pt x="940" y="686"/>
                </a:lnTo>
                <a:lnTo>
                  <a:pt x="953" y="678"/>
                </a:lnTo>
                <a:lnTo>
                  <a:pt x="966" y="669"/>
                </a:lnTo>
                <a:lnTo>
                  <a:pt x="978" y="660"/>
                </a:lnTo>
                <a:lnTo>
                  <a:pt x="988" y="648"/>
                </a:lnTo>
                <a:lnTo>
                  <a:pt x="1000" y="638"/>
                </a:lnTo>
                <a:lnTo>
                  <a:pt x="1009" y="625"/>
                </a:lnTo>
                <a:lnTo>
                  <a:pt x="1019" y="612"/>
                </a:lnTo>
                <a:lnTo>
                  <a:pt x="1027" y="599"/>
                </a:lnTo>
                <a:lnTo>
                  <a:pt x="1035" y="584"/>
                </a:lnTo>
                <a:lnTo>
                  <a:pt x="1042" y="569"/>
                </a:lnTo>
                <a:lnTo>
                  <a:pt x="1048" y="555"/>
                </a:lnTo>
                <a:lnTo>
                  <a:pt x="1053" y="539"/>
                </a:lnTo>
                <a:lnTo>
                  <a:pt x="1058" y="523"/>
                </a:lnTo>
                <a:lnTo>
                  <a:pt x="1061" y="507"/>
                </a:lnTo>
                <a:lnTo>
                  <a:pt x="1063" y="490"/>
                </a:lnTo>
                <a:lnTo>
                  <a:pt x="1065" y="471"/>
                </a:lnTo>
                <a:lnTo>
                  <a:pt x="1066" y="455"/>
                </a:lnTo>
                <a:lnTo>
                  <a:pt x="1066" y="379"/>
                </a:lnTo>
                <a:lnTo>
                  <a:pt x="1065" y="349"/>
                </a:lnTo>
                <a:lnTo>
                  <a:pt x="1059" y="320"/>
                </a:lnTo>
                <a:lnTo>
                  <a:pt x="1053" y="292"/>
                </a:lnTo>
                <a:lnTo>
                  <a:pt x="1042" y="266"/>
                </a:lnTo>
                <a:lnTo>
                  <a:pt x="1031" y="242"/>
                </a:lnTo>
                <a:lnTo>
                  <a:pt x="1017" y="218"/>
                </a:lnTo>
                <a:lnTo>
                  <a:pt x="1001" y="197"/>
                </a:lnTo>
                <a:lnTo>
                  <a:pt x="983" y="179"/>
                </a:lnTo>
                <a:lnTo>
                  <a:pt x="940" y="200"/>
                </a:lnTo>
                <a:lnTo>
                  <a:pt x="896" y="221"/>
                </a:lnTo>
                <a:lnTo>
                  <a:pt x="850" y="239"/>
                </a:lnTo>
                <a:lnTo>
                  <a:pt x="806" y="256"/>
                </a:lnTo>
                <a:lnTo>
                  <a:pt x="759" y="273"/>
                </a:lnTo>
                <a:lnTo>
                  <a:pt x="714" y="287"/>
                </a:lnTo>
                <a:lnTo>
                  <a:pt x="666" y="300"/>
                </a:lnTo>
                <a:lnTo>
                  <a:pt x="619" y="313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14AA96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97653" y="2687879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14AA96"/>
                </a:solidFill>
              </a:rPr>
              <a:t>Андеррайтер</a:t>
            </a:r>
          </a:p>
        </p:txBody>
      </p:sp>
      <p:sp>
        <p:nvSpPr>
          <p:cNvPr id="11" name="Freeform 104"/>
          <p:cNvSpPr>
            <a:spLocks noChangeAspect="1" noEditPoints="1"/>
          </p:cNvSpPr>
          <p:nvPr/>
        </p:nvSpPr>
        <p:spPr bwMode="auto">
          <a:xfrm>
            <a:off x="4354006" y="1795713"/>
            <a:ext cx="358879" cy="810502"/>
          </a:xfrm>
          <a:custGeom>
            <a:avLst/>
            <a:gdLst>
              <a:gd name="T0" fmla="*/ 2147483647 w 2104"/>
              <a:gd name="T1" fmla="*/ 2147483647 h 4763"/>
              <a:gd name="T2" fmla="*/ 2147483647 w 2104"/>
              <a:gd name="T3" fmla="*/ 2147483647 h 4763"/>
              <a:gd name="T4" fmla="*/ 2147483647 w 2104"/>
              <a:gd name="T5" fmla="*/ 2147483647 h 4763"/>
              <a:gd name="T6" fmla="*/ 2147483647 w 2104"/>
              <a:gd name="T7" fmla="*/ 2147483647 h 4763"/>
              <a:gd name="T8" fmla="*/ 2147483647 w 2104"/>
              <a:gd name="T9" fmla="*/ 2147483647 h 4763"/>
              <a:gd name="T10" fmla="*/ 2147483647 w 2104"/>
              <a:gd name="T11" fmla="*/ 2147483647 h 4763"/>
              <a:gd name="T12" fmla="*/ 2147483647 w 2104"/>
              <a:gd name="T13" fmla="*/ 2147483647 h 4763"/>
              <a:gd name="T14" fmla="*/ 2147483647 w 2104"/>
              <a:gd name="T15" fmla="*/ 2147483647 h 4763"/>
              <a:gd name="T16" fmla="*/ 0 w 2104"/>
              <a:gd name="T17" fmla="*/ 2147483647 h 4763"/>
              <a:gd name="T18" fmla="*/ 2147483647 w 2104"/>
              <a:gd name="T19" fmla="*/ 2147483647 h 4763"/>
              <a:gd name="T20" fmla="*/ 2147483647 w 2104"/>
              <a:gd name="T21" fmla="*/ 2147483647 h 4763"/>
              <a:gd name="T22" fmla="*/ 2147483647 w 2104"/>
              <a:gd name="T23" fmla="*/ 2147483647 h 4763"/>
              <a:gd name="T24" fmla="*/ 2147483647 w 2104"/>
              <a:gd name="T25" fmla="*/ 2147483647 h 4763"/>
              <a:gd name="T26" fmla="*/ 2147483647 w 2104"/>
              <a:gd name="T27" fmla="*/ 2147483647 h 4763"/>
              <a:gd name="T28" fmla="*/ 2147483647 w 2104"/>
              <a:gd name="T29" fmla="*/ 2147483647 h 4763"/>
              <a:gd name="T30" fmla="*/ 2147483647 w 2104"/>
              <a:gd name="T31" fmla="*/ 2147483647 h 4763"/>
              <a:gd name="T32" fmla="*/ 2147483647 w 2104"/>
              <a:gd name="T33" fmla="*/ 2147483647 h 4763"/>
              <a:gd name="T34" fmla="*/ 2147483647 w 2104"/>
              <a:gd name="T35" fmla="*/ 2147483647 h 4763"/>
              <a:gd name="T36" fmla="*/ 2147483647 w 2104"/>
              <a:gd name="T37" fmla="*/ 2147483647 h 4763"/>
              <a:gd name="T38" fmla="*/ 2147483647 w 2104"/>
              <a:gd name="T39" fmla="*/ 2147483647 h 4763"/>
              <a:gd name="T40" fmla="*/ 2147483647 w 2104"/>
              <a:gd name="T41" fmla="*/ 2147483647 h 4763"/>
              <a:gd name="T42" fmla="*/ 2147483647 w 2104"/>
              <a:gd name="T43" fmla="*/ 0 h 4763"/>
              <a:gd name="T44" fmla="*/ 2147483647 w 2104"/>
              <a:gd name="T45" fmla="*/ 2147483647 h 4763"/>
              <a:gd name="T46" fmla="*/ 2147483647 w 2104"/>
              <a:gd name="T47" fmla="*/ 2147483647 h 4763"/>
              <a:gd name="T48" fmla="*/ 2147483647 w 2104"/>
              <a:gd name="T49" fmla="*/ 2147483647 h 4763"/>
              <a:gd name="T50" fmla="*/ 2147483647 w 2104"/>
              <a:gd name="T51" fmla="*/ 2147483647 h 4763"/>
              <a:gd name="T52" fmla="*/ 2147483647 w 2104"/>
              <a:gd name="T53" fmla="*/ 2147483647 h 4763"/>
              <a:gd name="T54" fmla="*/ 2147483647 w 2104"/>
              <a:gd name="T55" fmla="*/ 2147483647 h 4763"/>
              <a:gd name="T56" fmla="*/ 2147483647 w 2104"/>
              <a:gd name="T57" fmla="*/ 2147483647 h 4763"/>
              <a:gd name="T58" fmla="*/ 2147483647 w 2104"/>
              <a:gd name="T59" fmla="*/ 2147483647 h 4763"/>
              <a:gd name="T60" fmla="*/ 2147483647 w 2104"/>
              <a:gd name="T61" fmla="*/ 2147483647 h 4763"/>
              <a:gd name="T62" fmla="*/ 2147483647 w 2104"/>
              <a:gd name="T63" fmla="*/ 2147483647 h 4763"/>
              <a:gd name="T64" fmla="*/ 2147483647 w 2104"/>
              <a:gd name="T65" fmla="*/ 2147483647 h 4763"/>
              <a:gd name="T66" fmla="*/ 2147483647 w 2104"/>
              <a:gd name="T67" fmla="*/ 2147483647 h 4763"/>
              <a:gd name="T68" fmla="*/ 2147483647 w 2104"/>
              <a:gd name="T69" fmla="*/ 2147483647 h 4763"/>
              <a:gd name="T70" fmla="*/ 2147483647 w 2104"/>
              <a:gd name="T71" fmla="*/ 2147483647 h 4763"/>
              <a:gd name="T72" fmla="*/ 2147483647 w 2104"/>
              <a:gd name="T73" fmla="*/ 2147483647 h 4763"/>
              <a:gd name="T74" fmla="*/ 2147483647 w 2104"/>
              <a:gd name="T75" fmla="*/ 2147483647 h 4763"/>
              <a:gd name="T76" fmla="*/ 2147483647 w 2104"/>
              <a:gd name="T77" fmla="*/ 2147483647 h 4763"/>
              <a:gd name="T78" fmla="*/ 2147483647 w 2104"/>
              <a:gd name="T79" fmla="*/ 2147483647 h 4763"/>
              <a:gd name="T80" fmla="*/ 2147483647 w 2104"/>
              <a:gd name="T81" fmla="*/ 2147483647 h 4763"/>
              <a:gd name="T82" fmla="*/ 2147483647 w 2104"/>
              <a:gd name="T83" fmla="*/ 2147483647 h 4763"/>
              <a:gd name="T84" fmla="*/ 2147483647 w 2104"/>
              <a:gd name="T85" fmla="*/ 2147483647 h 4763"/>
              <a:gd name="T86" fmla="*/ 2147483647 w 2104"/>
              <a:gd name="T87" fmla="*/ 2147483647 h 4763"/>
              <a:gd name="T88" fmla="*/ 2147483647 w 2104"/>
              <a:gd name="T89" fmla="*/ 2147483647 h 4763"/>
              <a:gd name="T90" fmla="*/ 2147483647 w 2104"/>
              <a:gd name="T91" fmla="*/ 2147483647 h 4763"/>
              <a:gd name="T92" fmla="*/ 2147483647 w 2104"/>
              <a:gd name="T93" fmla="*/ 2147483647 h 4763"/>
              <a:gd name="T94" fmla="*/ 2147483647 w 2104"/>
              <a:gd name="T95" fmla="*/ 2147483647 h 4763"/>
              <a:gd name="T96" fmla="*/ 2147483647 w 2104"/>
              <a:gd name="T97" fmla="*/ 2147483647 h 4763"/>
              <a:gd name="T98" fmla="*/ 2147483647 w 2104"/>
              <a:gd name="T99" fmla="*/ 2147483647 h 4763"/>
              <a:gd name="T100" fmla="*/ 2147483647 w 2104"/>
              <a:gd name="T101" fmla="*/ 2147483647 h 4763"/>
              <a:gd name="T102" fmla="*/ 2147483647 w 2104"/>
              <a:gd name="T103" fmla="*/ 2147483647 h 4763"/>
              <a:gd name="T104" fmla="*/ 2147483647 w 2104"/>
              <a:gd name="T105" fmla="*/ 2147483647 h 4763"/>
              <a:gd name="T106" fmla="*/ 2147483647 w 2104"/>
              <a:gd name="T107" fmla="*/ 2147483647 h 4763"/>
              <a:gd name="T108" fmla="*/ 2147483647 w 2104"/>
              <a:gd name="T109" fmla="*/ 2147483647 h 4763"/>
              <a:gd name="T110" fmla="*/ 2147483647 w 2104"/>
              <a:gd name="T111" fmla="*/ 2147483647 h 4763"/>
              <a:gd name="T112" fmla="*/ 2147483647 w 2104"/>
              <a:gd name="T113" fmla="*/ 2147483647 h 4763"/>
              <a:gd name="T114" fmla="*/ 2147483647 w 2104"/>
              <a:gd name="T115" fmla="*/ 2147483647 h 4763"/>
              <a:gd name="T116" fmla="*/ 2147483647 w 2104"/>
              <a:gd name="T117" fmla="*/ 2147483647 h 4763"/>
              <a:gd name="T118" fmla="*/ 2147483647 w 2104"/>
              <a:gd name="T119" fmla="*/ 2147483647 h 4763"/>
              <a:gd name="T120" fmla="*/ 2147483647 w 2104"/>
              <a:gd name="T121" fmla="*/ 2147483647 h 4763"/>
              <a:gd name="T122" fmla="*/ 2147483647 w 2104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04"/>
              <a:gd name="T187" fmla="*/ 0 h 4763"/>
              <a:gd name="T188" fmla="*/ 2104 w 2104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04" h="4763">
                <a:moveTo>
                  <a:pt x="1807" y="3008"/>
                </a:moveTo>
                <a:lnTo>
                  <a:pt x="1901" y="3008"/>
                </a:lnTo>
                <a:lnTo>
                  <a:pt x="1901" y="3933"/>
                </a:lnTo>
                <a:lnTo>
                  <a:pt x="1752" y="3933"/>
                </a:lnTo>
                <a:lnTo>
                  <a:pt x="1752" y="3012"/>
                </a:lnTo>
                <a:lnTo>
                  <a:pt x="1752" y="3008"/>
                </a:lnTo>
                <a:lnTo>
                  <a:pt x="1752" y="2835"/>
                </a:lnTo>
                <a:lnTo>
                  <a:pt x="1475" y="2835"/>
                </a:lnTo>
                <a:lnTo>
                  <a:pt x="1475" y="2782"/>
                </a:lnTo>
                <a:lnTo>
                  <a:pt x="1807" y="2782"/>
                </a:lnTo>
                <a:lnTo>
                  <a:pt x="1807" y="3008"/>
                </a:lnTo>
                <a:close/>
                <a:moveTo>
                  <a:pt x="1954" y="3008"/>
                </a:moveTo>
                <a:lnTo>
                  <a:pt x="2104" y="3008"/>
                </a:lnTo>
                <a:lnTo>
                  <a:pt x="2104" y="3933"/>
                </a:lnTo>
                <a:lnTo>
                  <a:pt x="1954" y="3933"/>
                </a:lnTo>
                <a:lnTo>
                  <a:pt x="1954" y="3008"/>
                </a:lnTo>
                <a:close/>
                <a:moveTo>
                  <a:pt x="1694" y="3008"/>
                </a:moveTo>
                <a:lnTo>
                  <a:pt x="1694" y="3933"/>
                </a:lnTo>
                <a:lnTo>
                  <a:pt x="1381" y="3933"/>
                </a:lnTo>
                <a:lnTo>
                  <a:pt x="1342" y="4763"/>
                </a:lnTo>
                <a:lnTo>
                  <a:pt x="896" y="4763"/>
                </a:lnTo>
                <a:lnTo>
                  <a:pt x="896" y="2726"/>
                </a:lnTo>
                <a:lnTo>
                  <a:pt x="843" y="2726"/>
                </a:lnTo>
                <a:lnTo>
                  <a:pt x="843" y="4763"/>
                </a:lnTo>
                <a:lnTo>
                  <a:pt x="397" y="4763"/>
                </a:lnTo>
                <a:lnTo>
                  <a:pt x="325" y="3219"/>
                </a:lnTo>
                <a:lnTo>
                  <a:pt x="151" y="3077"/>
                </a:lnTo>
                <a:lnTo>
                  <a:pt x="82" y="2792"/>
                </a:lnTo>
                <a:lnTo>
                  <a:pt x="137" y="2792"/>
                </a:lnTo>
                <a:lnTo>
                  <a:pt x="199" y="3046"/>
                </a:lnTo>
                <a:lnTo>
                  <a:pt x="323" y="3147"/>
                </a:lnTo>
                <a:lnTo>
                  <a:pt x="304" y="2739"/>
                </a:lnTo>
                <a:lnTo>
                  <a:pt x="299" y="2739"/>
                </a:lnTo>
                <a:lnTo>
                  <a:pt x="0" y="2739"/>
                </a:lnTo>
                <a:lnTo>
                  <a:pt x="0" y="1086"/>
                </a:lnTo>
                <a:lnTo>
                  <a:pt x="0" y="1065"/>
                </a:lnTo>
                <a:lnTo>
                  <a:pt x="4" y="1046"/>
                </a:lnTo>
                <a:lnTo>
                  <a:pt x="9" y="1029"/>
                </a:lnTo>
                <a:lnTo>
                  <a:pt x="16" y="1012"/>
                </a:lnTo>
                <a:lnTo>
                  <a:pt x="24" y="997"/>
                </a:lnTo>
                <a:lnTo>
                  <a:pt x="35" y="984"/>
                </a:lnTo>
                <a:lnTo>
                  <a:pt x="46" y="971"/>
                </a:lnTo>
                <a:lnTo>
                  <a:pt x="58" y="959"/>
                </a:lnTo>
                <a:lnTo>
                  <a:pt x="73" y="948"/>
                </a:lnTo>
                <a:lnTo>
                  <a:pt x="89" y="939"/>
                </a:lnTo>
                <a:lnTo>
                  <a:pt x="105" y="929"/>
                </a:lnTo>
                <a:lnTo>
                  <a:pt x="123" y="922"/>
                </a:lnTo>
                <a:lnTo>
                  <a:pt x="161" y="904"/>
                </a:lnTo>
                <a:lnTo>
                  <a:pt x="200" y="890"/>
                </a:lnTo>
                <a:lnTo>
                  <a:pt x="605" y="744"/>
                </a:lnTo>
                <a:lnTo>
                  <a:pt x="737" y="1523"/>
                </a:lnTo>
                <a:lnTo>
                  <a:pt x="806" y="918"/>
                </a:lnTo>
                <a:lnTo>
                  <a:pt x="789" y="910"/>
                </a:lnTo>
                <a:lnTo>
                  <a:pt x="773" y="899"/>
                </a:lnTo>
                <a:lnTo>
                  <a:pt x="759" y="886"/>
                </a:lnTo>
                <a:lnTo>
                  <a:pt x="749" y="871"/>
                </a:lnTo>
                <a:lnTo>
                  <a:pt x="850" y="775"/>
                </a:lnTo>
                <a:lnTo>
                  <a:pt x="950" y="871"/>
                </a:lnTo>
                <a:lnTo>
                  <a:pt x="940" y="886"/>
                </a:lnTo>
                <a:lnTo>
                  <a:pt x="927" y="899"/>
                </a:lnTo>
                <a:lnTo>
                  <a:pt x="911" y="910"/>
                </a:lnTo>
                <a:lnTo>
                  <a:pt x="895" y="918"/>
                </a:lnTo>
                <a:lnTo>
                  <a:pt x="962" y="1523"/>
                </a:lnTo>
                <a:lnTo>
                  <a:pt x="1094" y="744"/>
                </a:lnTo>
                <a:lnTo>
                  <a:pt x="1499" y="890"/>
                </a:lnTo>
                <a:lnTo>
                  <a:pt x="1539" y="904"/>
                </a:lnTo>
                <a:lnTo>
                  <a:pt x="1577" y="922"/>
                </a:lnTo>
                <a:lnTo>
                  <a:pt x="1594" y="929"/>
                </a:lnTo>
                <a:lnTo>
                  <a:pt x="1610" y="939"/>
                </a:lnTo>
                <a:lnTo>
                  <a:pt x="1626" y="948"/>
                </a:lnTo>
                <a:lnTo>
                  <a:pt x="1641" y="959"/>
                </a:lnTo>
                <a:lnTo>
                  <a:pt x="1654" y="971"/>
                </a:lnTo>
                <a:lnTo>
                  <a:pt x="1666" y="984"/>
                </a:lnTo>
                <a:lnTo>
                  <a:pt x="1675" y="997"/>
                </a:lnTo>
                <a:lnTo>
                  <a:pt x="1685" y="1012"/>
                </a:lnTo>
                <a:lnTo>
                  <a:pt x="1691" y="1029"/>
                </a:lnTo>
                <a:lnTo>
                  <a:pt x="1696" y="1046"/>
                </a:lnTo>
                <a:lnTo>
                  <a:pt x="1699" y="1065"/>
                </a:lnTo>
                <a:lnTo>
                  <a:pt x="1700" y="1086"/>
                </a:lnTo>
                <a:lnTo>
                  <a:pt x="1700" y="2739"/>
                </a:lnTo>
                <a:lnTo>
                  <a:pt x="1435" y="2739"/>
                </a:lnTo>
                <a:lnTo>
                  <a:pt x="1423" y="3008"/>
                </a:lnTo>
                <a:lnTo>
                  <a:pt x="1694" y="3008"/>
                </a:lnTo>
                <a:close/>
                <a:moveTo>
                  <a:pt x="840" y="0"/>
                </a:moveTo>
                <a:lnTo>
                  <a:pt x="840" y="0"/>
                </a:lnTo>
                <a:lnTo>
                  <a:pt x="868" y="1"/>
                </a:lnTo>
                <a:lnTo>
                  <a:pt x="895" y="7"/>
                </a:lnTo>
                <a:lnTo>
                  <a:pt x="921" y="13"/>
                </a:lnTo>
                <a:lnTo>
                  <a:pt x="945" y="24"/>
                </a:lnTo>
                <a:lnTo>
                  <a:pt x="969" y="37"/>
                </a:lnTo>
                <a:lnTo>
                  <a:pt x="990" y="52"/>
                </a:lnTo>
                <a:lnTo>
                  <a:pt x="1012" y="69"/>
                </a:lnTo>
                <a:lnTo>
                  <a:pt x="1030" y="89"/>
                </a:lnTo>
                <a:lnTo>
                  <a:pt x="1047" y="110"/>
                </a:lnTo>
                <a:lnTo>
                  <a:pt x="1062" y="133"/>
                </a:lnTo>
                <a:lnTo>
                  <a:pt x="1075" y="157"/>
                </a:lnTo>
                <a:lnTo>
                  <a:pt x="1087" y="183"/>
                </a:lnTo>
                <a:lnTo>
                  <a:pt x="1095" y="210"/>
                </a:lnTo>
                <a:lnTo>
                  <a:pt x="1102" y="238"/>
                </a:lnTo>
                <a:lnTo>
                  <a:pt x="1106" y="267"/>
                </a:lnTo>
                <a:lnTo>
                  <a:pt x="1107" y="297"/>
                </a:lnTo>
                <a:lnTo>
                  <a:pt x="1108" y="340"/>
                </a:lnTo>
                <a:lnTo>
                  <a:pt x="1108" y="370"/>
                </a:lnTo>
                <a:lnTo>
                  <a:pt x="1107" y="381"/>
                </a:lnTo>
                <a:lnTo>
                  <a:pt x="1106" y="385"/>
                </a:lnTo>
                <a:lnTo>
                  <a:pt x="1104" y="414"/>
                </a:lnTo>
                <a:lnTo>
                  <a:pt x="1100" y="442"/>
                </a:lnTo>
                <a:lnTo>
                  <a:pt x="1094" y="469"/>
                </a:lnTo>
                <a:lnTo>
                  <a:pt x="1085" y="494"/>
                </a:lnTo>
                <a:lnTo>
                  <a:pt x="1074" y="519"/>
                </a:lnTo>
                <a:lnTo>
                  <a:pt x="1061" y="542"/>
                </a:lnTo>
                <a:lnTo>
                  <a:pt x="1045" y="563"/>
                </a:lnTo>
                <a:lnTo>
                  <a:pt x="1027" y="583"/>
                </a:lnTo>
                <a:lnTo>
                  <a:pt x="1009" y="602"/>
                </a:lnTo>
                <a:lnTo>
                  <a:pt x="988" y="617"/>
                </a:lnTo>
                <a:lnTo>
                  <a:pt x="966" y="632"/>
                </a:lnTo>
                <a:lnTo>
                  <a:pt x="942" y="644"/>
                </a:lnTo>
                <a:lnTo>
                  <a:pt x="919" y="653"/>
                </a:lnTo>
                <a:lnTo>
                  <a:pt x="893" y="660"/>
                </a:lnTo>
                <a:lnTo>
                  <a:pt x="867" y="664"/>
                </a:lnTo>
                <a:lnTo>
                  <a:pt x="840" y="665"/>
                </a:lnTo>
                <a:lnTo>
                  <a:pt x="814" y="664"/>
                </a:lnTo>
                <a:lnTo>
                  <a:pt x="787" y="660"/>
                </a:lnTo>
                <a:lnTo>
                  <a:pt x="762" y="653"/>
                </a:lnTo>
                <a:lnTo>
                  <a:pt x="738" y="644"/>
                </a:lnTo>
                <a:lnTo>
                  <a:pt x="714" y="632"/>
                </a:lnTo>
                <a:lnTo>
                  <a:pt x="693" y="617"/>
                </a:lnTo>
                <a:lnTo>
                  <a:pt x="672" y="602"/>
                </a:lnTo>
                <a:lnTo>
                  <a:pt x="653" y="583"/>
                </a:lnTo>
                <a:lnTo>
                  <a:pt x="636" y="563"/>
                </a:lnTo>
                <a:lnTo>
                  <a:pt x="620" y="542"/>
                </a:lnTo>
                <a:lnTo>
                  <a:pt x="607" y="519"/>
                </a:lnTo>
                <a:lnTo>
                  <a:pt x="596" y="494"/>
                </a:lnTo>
                <a:lnTo>
                  <a:pt x="587" y="469"/>
                </a:lnTo>
                <a:lnTo>
                  <a:pt x="580" y="442"/>
                </a:lnTo>
                <a:lnTo>
                  <a:pt x="576" y="414"/>
                </a:lnTo>
                <a:lnTo>
                  <a:pt x="573" y="385"/>
                </a:lnTo>
                <a:lnTo>
                  <a:pt x="573" y="381"/>
                </a:lnTo>
                <a:lnTo>
                  <a:pt x="572" y="370"/>
                </a:lnTo>
                <a:lnTo>
                  <a:pt x="572" y="340"/>
                </a:lnTo>
                <a:lnTo>
                  <a:pt x="573" y="297"/>
                </a:lnTo>
                <a:lnTo>
                  <a:pt x="575" y="267"/>
                </a:lnTo>
                <a:lnTo>
                  <a:pt x="579" y="238"/>
                </a:lnTo>
                <a:lnTo>
                  <a:pt x="585" y="210"/>
                </a:lnTo>
                <a:lnTo>
                  <a:pt x="593" y="183"/>
                </a:lnTo>
                <a:lnTo>
                  <a:pt x="605" y="157"/>
                </a:lnTo>
                <a:lnTo>
                  <a:pt x="619" y="133"/>
                </a:lnTo>
                <a:lnTo>
                  <a:pt x="633" y="110"/>
                </a:lnTo>
                <a:lnTo>
                  <a:pt x="650" y="89"/>
                </a:lnTo>
                <a:lnTo>
                  <a:pt x="669" y="69"/>
                </a:lnTo>
                <a:lnTo>
                  <a:pt x="689" y="52"/>
                </a:lnTo>
                <a:lnTo>
                  <a:pt x="712" y="37"/>
                </a:lnTo>
                <a:lnTo>
                  <a:pt x="735" y="24"/>
                </a:lnTo>
                <a:lnTo>
                  <a:pt x="759" y="13"/>
                </a:lnTo>
                <a:lnTo>
                  <a:pt x="786" y="7"/>
                </a:lnTo>
                <a:lnTo>
                  <a:pt x="812" y="1"/>
                </a:lnTo>
                <a:lnTo>
                  <a:pt x="840" y="0"/>
                </a:lnTo>
                <a:close/>
                <a:moveTo>
                  <a:pt x="639" y="218"/>
                </a:moveTo>
                <a:lnTo>
                  <a:pt x="639" y="218"/>
                </a:lnTo>
                <a:lnTo>
                  <a:pt x="633" y="236"/>
                </a:lnTo>
                <a:lnTo>
                  <a:pt x="629" y="256"/>
                </a:lnTo>
                <a:lnTo>
                  <a:pt x="628" y="276"/>
                </a:lnTo>
                <a:lnTo>
                  <a:pt x="627" y="297"/>
                </a:lnTo>
                <a:lnTo>
                  <a:pt x="627" y="368"/>
                </a:lnTo>
                <a:lnTo>
                  <a:pt x="628" y="394"/>
                </a:lnTo>
                <a:lnTo>
                  <a:pt x="631" y="418"/>
                </a:lnTo>
                <a:lnTo>
                  <a:pt x="636" y="442"/>
                </a:lnTo>
                <a:lnTo>
                  <a:pt x="644" y="465"/>
                </a:lnTo>
                <a:lnTo>
                  <a:pt x="653" y="486"/>
                </a:lnTo>
                <a:lnTo>
                  <a:pt x="664" y="506"/>
                </a:lnTo>
                <a:lnTo>
                  <a:pt x="676" y="525"/>
                </a:lnTo>
                <a:lnTo>
                  <a:pt x="690" y="542"/>
                </a:lnTo>
                <a:lnTo>
                  <a:pt x="706" y="558"/>
                </a:lnTo>
                <a:lnTo>
                  <a:pt x="722" y="572"/>
                </a:lnTo>
                <a:lnTo>
                  <a:pt x="739" y="584"/>
                </a:lnTo>
                <a:lnTo>
                  <a:pt x="758" y="594"/>
                </a:lnTo>
                <a:lnTo>
                  <a:pt x="778" y="602"/>
                </a:lnTo>
                <a:lnTo>
                  <a:pt x="798" y="608"/>
                </a:lnTo>
                <a:lnTo>
                  <a:pt x="819" y="611"/>
                </a:lnTo>
                <a:lnTo>
                  <a:pt x="840" y="612"/>
                </a:lnTo>
                <a:lnTo>
                  <a:pt x="862" y="611"/>
                </a:lnTo>
                <a:lnTo>
                  <a:pt x="883" y="608"/>
                </a:lnTo>
                <a:lnTo>
                  <a:pt x="903" y="602"/>
                </a:lnTo>
                <a:lnTo>
                  <a:pt x="923" y="594"/>
                </a:lnTo>
                <a:lnTo>
                  <a:pt x="941" y="584"/>
                </a:lnTo>
                <a:lnTo>
                  <a:pt x="958" y="572"/>
                </a:lnTo>
                <a:lnTo>
                  <a:pt x="974" y="558"/>
                </a:lnTo>
                <a:lnTo>
                  <a:pt x="990" y="542"/>
                </a:lnTo>
                <a:lnTo>
                  <a:pt x="1004" y="525"/>
                </a:lnTo>
                <a:lnTo>
                  <a:pt x="1017" y="506"/>
                </a:lnTo>
                <a:lnTo>
                  <a:pt x="1027" y="486"/>
                </a:lnTo>
                <a:lnTo>
                  <a:pt x="1037" y="465"/>
                </a:lnTo>
                <a:lnTo>
                  <a:pt x="1043" y="442"/>
                </a:lnTo>
                <a:lnTo>
                  <a:pt x="1049" y="418"/>
                </a:lnTo>
                <a:lnTo>
                  <a:pt x="1053" y="394"/>
                </a:lnTo>
                <a:lnTo>
                  <a:pt x="1054" y="368"/>
                </a:lnTo>
                <a:lnTo>
                  <a:pt x="1054" y="297"/>
                </a:lnTo>
                <a:lnTo>
                  <a:pt x="1053" y="274"/>
                </a:lnTo>
                <a:lnTo>
                  <a:pt x="1050" y="252"/>
                </a:lnTo>
                <a:lnTo>
                  <a:pt x="1046" y="230"/>
                </a:lnTo>
                <a:lnTo>
                  <a:pt x="1039" y="208"/>
                </a:lnTo>
                <a:lnTo>
                  <a:pt x="1033" y="199"/>
                </a:lnTo>
                <a:lnTo>
                  <a:pt x="1025" y="190"/>
                </a:lnTo>
                <a:lnTo>
                  <a:pt x="1015" y="181"/>
                </a:lnTo>
                <a:lnTo>
                  <a:pt x="1006" y="173"/>
                </a:lnTo>
                <a:lnTo>
                  <a:pt x="996" y="165"/>
                </a:lnTo>
                <a:lnTo>
                  <a:pt x="985" y="158"/>
                </a:lnTo>
                <a:lnTo>
                  <a:pt x="962" y="146"/>
                </a:lnTo>
                <a:lnTo>
                  <a:pt x="950" y="159"/>
                </a:lnTo>
                <a:lnTo>
                  <a:pt x="937" y="171"/>
                </a:lnTo>
                <a:lnTo>
                  <a:pt x="923" y="182"/>
                </a:lnTo>
                <a:lnTo>
                  <a:pt x="908" y="191"/>
                </a:lnTo>
                <a:lnTo>
                  <a:pt x="891" y="198"/>
                </a:lnTo>
                <a:lnTo>
                  <a:pt x="873" y="203"/>
                </a:lnTo>
                <a:lnTo>
                  <a:pt x="855" y="206"/>
                </a:lnTo>
                <a:lnTo>
                  <a:pt x="835" y="207"/>
                </a:lnTo>
                <a:lnTo>
                  <a:pt x="818" y="206"/>
                </a:lnTo>
                <a:lnTo>
                  <a:pt x="799" y="203"/>
                </a:lnTo>
                <a:lnTo>
                  <a:pt x="782" y="198"/>
                </a:lnTo>
                <a:lnTo>
                  <a:pt x="766" y="191"/>
                </a:lnTo>
                <a:lnTo>
                  <a:pt x="751" y="183"/>
                </a:lnTo>
                <a:lnTo>
                  <a:pt x="737" y="174"/>
                </a:lnTo>
                <a:lnTo>
                  <a:pt x="723" y="162"/>
                </a:lnTo>
                <a:lnTo>
                  <a:pt x="712" y="150"/>
                </a:lnTo>
                <a:lnTo>
                  <a:pt x="689" y="162"/>
                </a:lnTo>
                <a:lnTo>
                  <a:pt x="680" y="170"/>
                </a:lnTo>
                <a:lnTo>
                  <a:pt x="669" y="178"/>
                </a:lnTo>
                <a:lnTo>
                  <a:pt x="660" y="187"/>
                </a:lnTo>
                <a:lnTo>
                  <a:pt x="652" y="197"/>
                </a:lnTo>
                <a:lnTo>
                  <a:pt x="645" y="206"/>
                </a:lnTo>
                <a:lnTo>
                  <a:pt x="639" y="218"/>
                </a:lnTo>
                <a:close/>
              </a:path>
            </a:pathLst>
          </a:custGeom>
          <a:solidFill>
            <a:srgbClr val="14AA96"/>
          </a:solidFill>
          <a:ln>
            <a:noFill/>
          </a:ln>
        </p:spPr>
        <p:txBody>
          <a:bodyPr/>
          <a:lstStyle/>
          <a:p>
            <a:endParaRPr lang="ru-RU">
              <a:solidFill>
                <a:srgbClr val="14AA96"/>
              </a:solidFill>
            </a:endParaRPr>
          </a:p>
        </p:txBody>
      </p:sp>
      <p:sp>
        <p:nvSpPr>
          <p:cNvPr id="12" name="Freeform 92"/>
          <p:cNvSpPr>
            <a:spLocks noChangeAspect="1" noEditPoints="1"/>
          </p:cNvSpPr>
          <p:nvPr/>
        </p:nvSpPr>
        <p:spPr bwMode="auto">
          <a:xfrm>
            <a:off x="7831670" y="1773610"/>
            <a:ext cx="693648" cy="817750"/>
          </a:xfrm>
          <a:custGeom>
            <a:avLst/>
            <a:gdLst>
              <a:gd name="T0" fmla="*/ 2147483647 w 3994"/>
              <a:gd name="T1" fmla="*/ 2147483647 h 4711"/>
              <a:gd name="T2" fmla="*/ 2147483647 w 3994"/>
              <a:gd name="T3" fmla="*/ 2147483647 h 4711"/>
              <a:gd name="T4" fmla="*/ 2147483647 w 3994"/>
              <a:gd name="T5" fmla="*/ 2147483647 h 4711"/>
              <a:gd name="T6" fmla="*/ 2147483647 w 3994"/>
              <a:gd name="T7" fmla="*/ 2147483647 h 4711"/>
              <a:gd name="T8" fmla="*/ 2147483647 w 3994"/>
              <a:gd name="T9" fmla="*/ 2147483647 h 4711"/>
              <a:gd name="T10" fmla="*/ 2147483647 w 3994"/>
              <a:gd name="T11" fmla="*/ 2147483647 h 4711"/>
              <a:gd name="T12" fmla="*/ 2147483647 w 3994"/>
              <a:gd name="T13" fmla="*/ 2147483647 h 4711"/>
              <a:gd name="T14" fmla="*/ 2147483647 w 3994"/>
              <a:gd name="T15" fmla="*/ 2147483647 h 4711"/>
              <a:gd name="T16" fmla="*/ 2147483647 w 3994"/>
              <a:gd name="T17" fmla="*/ 2147483647 h 4711"/>
              <a:gd name="T18" fmla="*/ 2147483647 w 3994"/>
              <a:gd name="T19" fmla="*/ 2147483647 h 4711"/>
              <a:gd name="T20" fmla="*/ 2147483647 w 3994"/>
              <a:gd name="T21" fmla="*/ 2147483647 h 4711"/>
              <a:gd name="T22" fmla="*/ 2147483647 w 3994"/>
              <a:gd name="T23" fmla="*/ 2147483647 h 4711"/>
              <a:gd name="T24" fmla="*/ 2147483647 w 3994"/>
              <a:gd name="T25" fmla="*/ 2147483647 h 4711"/>
              <a:gd name="T26" fmla="*/ 2147483647 w 3994"/>
              <a:gd name="T27" fmla="*/ 2147483647 h 4711"/>
              <a:gd name="T28" fmla="*/ 2147483647 w 3994"/>
              <a:gd name="T29" fmla="*/ 2147483647 h 4711"/>
              <a:gd name="T30" fmla="*/ 2147483647 w 3994"/>
              <a:gd name="T31" fmla="*/ 2147483647 h 4711"/>
              <a:gd name="T32" fmla="*/ 2147483647 w 3994"/>
              <a:gd name="T33" fmla="*/ 2147483647 h 4711"/>
              <a:gd name="T34" fmla="*/ 2147483647 w 3994"/>
              <a:gd name="T35" fmla="*/ 2147483647 h 4711"/>
              <a:gd name="T36" fmla="*/ 2147483647 w 3994"/>
              <a:gd name="T37" fmla="*/ 2147483647 h 4711"/>
              <a:gd name="T38" fmla="*/ 2147483647 w 3994"/>
              <a:gd name="T39" fmla="*/ 2147483647 h 4711"/>
              <a:gd name="T40" fmla="*/ 2147483647 w 3994"/>
              <a:gd name="T41" fmla="*/ 2147483647 h 4711"/>
              <a:gd name="T42" fmla="*/ 2147483647 w 3994"/>
              <a:gd name="T43" fmla="*/ 2147483647 h 4711"/>
              <a:gd name="T44" fmla="*/ 2147483647 w 3994"/>
              <a:gd name="T45" fmla="*/ 2147483647 h 4711"/>
              <a:gd name="T46" fmla="*/ 2147483647 w 3994"/>
              <a:gd name="T47" fmla="*/ 2147483647 h 4711"/>
              <a:gd name="T48" fmla="*/ 2147483647 w 3994"/>
              <a:gd name="T49" fmla="*/ 2147483647 h 4711"/>
              <a:gd name="T50" fmla="*/ 2147483647 w 3994"/>
              <a:gd name="T51" fmla="*/ 2147483647 h 4711"/>
              <a:gd name="T52" fmla="*/ 2147483647 w 3994"/>
              <a:gd name="T53" fmla="*/ 2147483647 h 4711"/>
              <a:gd name="T54" fmla="*/ 2147483647 w 3994"/>
              <a:gd name="T55" fmla="*/ 2147483647 h 4711"/>
              <a:gd name="T56" fmla="*/ 2147483647 w 3994"/>
              <a:gd name="T57" fmla="*/ 2147483647 h 4711"/>
              <a:gd name="T58" fmla="*/ 2147483647 w 3994"/>
              <a:gd name="T59" fmla="*/ 2147483647 h 4711"/>
              <a:gd name="T60" fmla="*/ 2147483647 w 3994"/>
              <a:gd name="T61" fmla="*/ 2147483647 h 4711"/>
              <a:gd name="T62" fmla="*/ 2147483647 w 3994"/>
              <a:gd name="T63" fmla="*/ 2147483647 h 4711"/>
              <a:gd name="T64" fmla="*/ 2147483647 w 3994"/>
              <a:gd name="T65" fmla="*/ 2147483647 h 4711"/>
              <a:gd name="T66" fmla="*/ 2147483647 w 3994"/>
              <a:gd name="T67" fmla="*/ 2147483647 h 4711"/>
              <a:gd name="T68" fmla="*/ 2147483647 w 3994"/>
              <a:gd name="T69" fmla="*/ 2147483647 h 4711"/>
              <a:gd name="T70" fmla="*/ 2147483647 w 3994"/>
              <a:gd name="T71" fmla="*/ 2147483647 h 4711"/>
              <a:gd name="T72" fmla="*/ 2147483647 w 3994"/>
              <a:gd name="T73" fmla="*/ 2147483647 h 4711"/>
              <a:gd name="T74" fmla="*/ 2147483647 w 3994"/>
              <a:gd name="T75" fmla="*/ 2147483647 h 4711"/>
              <a:gd name="T76" fmla="*/ 2147483647 w 3994"/>
              <a:gd name="T77" fmla="*/ 2147483647 h 4711"/>
              <a:gd name="T78" fmla="*/ 2147483647 w 3994"/>
              <a:gd name="T79" fmla="*/ 2147483647 h 4711"/>
              <a:gd name="T80" fmla="*/ 2147483647 w 3994"/>
              <a:gd name="T81" fmla="*/ 2147483647 h 4711"/>
              <a:gd name="T82" fmla="*/ 2147483647 w 3994"/>
              <a:gd name="T83" fmla="*/ 2147483647 h 4711"/>
              <a:gd name="T84" fmla="*/ 2147483647 w 3994"/>
              <a:gd name="T85" fmla="*/ 2147483647 h 4711"/>
              <a:gd name="T86" fmla="*/ 2147483647 w 3994"/>
              <a:gd name="T87" fmla="*/ 2147483647 h 4711"/>
              <a:gd name="T88" fmla="*/ 2147483647 w 3994"/>
              <a:gd name="T89" fmla="*/ 2147483647 h 4711"/>
              <a:gd name="T90" fmla="*/ 2147483647 w 3994"/>
              <a:gd name="T91" fmla="*/ 2147483647 h 4711"/>
              <a:gd name="T92" fmla="*/ 2147483647 w 3994"/>
              <a:gd name="T93" fmla="*/ 2147483647 h 4711"/>
              <a:gd name="T94" fmla="*/ 2147483647 w 3994"/>
              <a:gd name="T95" fmla="*/ 2147483647 h 4711"/>
              <a:gd name="T96" fmla="*/ 2147483647 w 3994"/>
              <a:gd name="T97" fmla="*/ 2147483647 h 4711"/>
              <a:gd name="T98" fmla="*/ 2147483647 w 3994"/>
              <a:gd name="T99" fmla="*/ 2147483647 h 4711"/>
              <a:gd name="T100" fmla="*/ 2147483647 w 3994"/>
              <a:gd name="T101" fmla="*/ 2147483647 h 4711"/>
              <a:gd name="T102" fmla="*/ 2147483647 w 3994"/>
              <a:gd name="T103" fmla="*/ 2147483647 h 4711"/>
              <a:gd name="T104" fmla="*/ 2147483647 w 3994"/>
              <a:gd name="T105" fmla="*/ 2147483647 h 4711"/>
              <a:gd name="T106" fmla="*/ 2147483647 w 3994"/>
              <a:gd name="T107" fmla="*/ 2147483647 h 4711"/>
              <a:gd name="T108" fmla="*/ 2147483647 w 3994"/>
              <a:gd name="T109" fmla="*/ 2147483647 h 4711"/>
              <a:gd name="T110" fmla="*/ 2147483647 w 3994"/>
              <a:gd name="T111" fmla="*/ 2147483647 h 4711"/>
              <a:gd name="T112" fmla="*/ 2147483647 w 3994"/>
              <a:gd name="T113" fmla="*/ 2147483647 h 4711"/>
              <a:gd name="T114" fmla="*/ 2147483647 w 3994"/>
              <a:gd name="T115" fmla="*/ 2147483647 h 4711"/>
              <a:gd name="T116" fmla="*/ 2147483647 w 3994"/>
              <a:gd name="T117" fmla="*/ 2147483647 h 4711"/>
              <a:gd name="T118" fmla="*/ 2147483647 w 3994"/>
              <a:gd name="T119" fmla="*/ 2147483647 h 4711"/>
              <a:gd name="T120" fmla="*/ 2147483647 w 3994"/>
              <a:gd name="T121" fmla="*/ 2147483647 h 4711"/>
              <a:gd name="T122" fmla="*/ 2147483647 w 3994"/>
              <a:gd name="T123" fmla="*/ 2147483647 h 4711"/>
              <a:gd name="T124" fmla="*/ 2147483647 w 3994"/>
              <a:gd name="T125" fmla="*/ 2147483647 h 471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994"/>
              <a:gd name="T190" fmla="*/ 0 h 4711"/>
              <a:gd name="T191" fmla="*/ 3994 w 3994"/>
              <a:gd name="T192" fmla="*/ 4711 h 471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994" h="4711">
                <a:moveTo>
                  <a:pt x="1052" y="492"/>
                </a:moveTo>
                <a:lnTo>
                  <a:pt x="1052" y="563"/>
                </a:lnTo>
                <a:lnTo>
                  <a:pt x="1050" y="588"/>
                </a:lnTo>
                <a:lnTo>
                  <a:pt x="1048" y="613"/>
                </a:lnTo>
                <a:lnTo>
                  <a:pt x="1042" y="638"/>
                </a:lnTo>
                <a:lnTo>
                  <a:pt x="1035" y="660"/>
                </a:lnTo>
                <a:lnTo>
                  <a:pt x="1026" y="682"/>
                </a:lnTo>
                <a:lnTo>
                  <a:pt x="1015" y="701"/>
                </a:lnTo>
                <a:lnTo>
                  <a:pt x="1002" y="720"/>
                </a:lnTo>
                <a:lnTo>
                  <a:pt x="989" y="738"/>
                </a:lnTo>
                <a:lnTo>
                  <a:pt x="973" y="753"/>
                </a:lnTo>
                <a:lnTo>
                  <a:pt x="957" y="767"/>
                </a:lnTo>
                <a:lnTo>
                  <a:pt x="939" y="779"/>
                </a:lnTo>
                <a:lnTo>
                  <a:pt x="920" y="789"/>
                </a:lnTo>
                <a:lnTo>
                  <a:pt x="900" y="797"/>
                </a:lnTo>
                <a:lnTo>
                  <a:pt x="880" y="804"/>
                </a:lnTo>
                <a:lnTo>
                  <a:pt x="859" y="807"/>
                </a:lnTo>
                <a:lnTo>
                  <a:pt x="837" y="808"/>
                </a:lnTo>
                <a:lnTo>
                  <a:pt x="816" y="807"/>
                </a:lnTo>
                <a:lnTo>
                  <a:pt x="796" y="804"/>
                </a:lnTo>
                <a:lnTo>
                  <a:pt x="775" y="797"/>
                </a:lnTo>
                <a:lnTo>
                  <a:pt x="754" y="789"/>
                </a:lnTo>
                <a:lnTo>
                  <a:pt x="737" y="779"/>
                </a:lnTo>
                <a:lnTo>
                  <a:pt x="719" y="767"/>
                </a:lnTo>
                <a:lnTo>
                  <a:pt x="702" y="753"/>
                </a:lnTo>
                <a:lnTo>
                  <a:pt x="687" y="738"/>
                </a:lnTo>
                <a:lnTo>
                  <a:pt x="672" y="720"/>
                </a:lnTo>
                <a:lnTo>
                  <a:pt x="659" y="701"/>
                </a:lnTo>
                <a:lnTo>
                  <a:pt x="648" y="682"/>
                </a:lnTo>
                <a:lnTo>
                  <a:pt x="640" y="660"/>
                </a:lnTo>
                <a:lnTo>
                  <a:pt x="632" y="638"/>
                </a:lnTo>
                <a:lnTo>
                  <a:pt x="628" y="613"/>
                </a:lnTo>
                <a:lnTo>
                  <a:pt x="624" y="588"/>
                </a:lnTo>
                <a:lnTo>
                  <a:pt x="622" y="563"/>
                </a:lnTo>
                <a:lnTo>
                  <a:pt x="624" y="449"/>
                </a:lnTo>
                <a:lnTo>
                  <a:pt x="646" y="454"/>
                </a:lnTo>
                <a:lnTo>
                  <a:pt x="670" y="459"/>
                </a:lnTo>
                <a:lnTo>
                  <a:pt x="694" y="460"/>
                </a:lnTo>
                <a:lnTo>
                  <a:pt x="719" y="461"/>
                </a:lnTo>
                <a:lnTo>
                  <a:pt x="738" y="461"/>
                </a:lnTo>
                <a:lnTo>
                  <a:pt x="756" y="459"/>
                </a:lnTo>
                <a:lnTo>
                  <a:pt x="775" y="457"/>
                </a:lnTo>
                <a:lnTo>
                  <a:pt x="793" y="453"/>
                </a:lnTo>
                <a:lnTo>
                  <a:pt x="811" y="449"/>
                </a:lnTo>
                <a:lnTo>
                  <a:pt x="829" y="443"/>
                </a:lnTo>
                <a:lnTo>
                  <a:pt x="847" y="438"/>
                </a:lnTo>
                <a:lnTo>
                  <a:pt x="863" y="431"/>
                </a:lnTo>
                <a:lnTo>
                  <a:pt x="880" y="423"/>
                </a:lnTo>
                <a:lnTo>
                  <a:pt x="896" y="414"/>
                </a:lnTo>
                <a:lnTo>
                  <a:pt x="911" y="405"/>
                </a:lnTo>
                <a:lnTo>
                  <a:pt x="927" y="395"/>
                </a:lnTo>
                <a:lnTo>
                  <a:pt x="940" y="384"/>
                </a:lnTo>
                <a:lnTo>
                  <a:pt x="954" y="373"/>
                </a:lnTo>
                <a:lnTo>
                  <a:pt x="968" y="361"/>
                </a:lnTo>
                <a:lnTo>
                  <a:pt x="980" y="348"/>
                </a:lnTo>
                <a:lnTo>
                  <a:pt x="990" y="354"/>
                </a:lnTo>
                <a:lnTo>
                  <a:pt x="1001" y="361"/>
                </a:lnTo>
                <a:lnTo>
                  <a:pt x="1013" y="370"/>
                </a:lnTo>
                <a:lnTo>
                  <a:pt x="1019" y="376"/>
                </a:lnTo>
                <a:lnTo>
                  <a:pt x="1024" y="383"/>
                </a:lnTo>
                <a:lnTo>
                  <a:pt x="1030" y="391"/>
                </a:lnTo>
                <a:lnTo>
                  <a:pt x="1035" y="401"/>
                </a:lnTo>
                <a:lnTo>
                  <a:pt x="1039" y="412"/>
                </a:lnTo>
                <a:lnTo>
                  <a:pt x="1044" y="424"/>
                </a:lnTo>
                <a:lnTo>
                  <a:pt x="1048" y="438"/>
                </a:lnTo>
                <a:lnTo>
                  <a:pt x="1050" y="454"/>
                </a:lnTo>
                <a:lnTo>
                  <a:pt x="1052" y="471"/>
                </a:lnTo>
                <a:lnTo>
                  <a:pt x="1052" y="492"/>
                </a:lnTo>
                <a:close/>
                <a:moveTo>
                  <a:pt x="570" y="598"/>
                </a:moveTo>
                <a:lnTo>
                  <a:pt x="505" y="403"/>
                </a:lnTo>
                <a:lnTo>
                  <a:pt x="501" y="384"/>
                </a:lnTo>
                <a:lnTo>
                  <a:pt x="500" y="365"/>
                </a:lnTo>
                <a:lnTo>
                  <a:pt x="501" y="347"/>
                </a:lnTo>
                <a:lnTo>
                  <a:pt x="505" y="329"/>
                </a:lnTo>
                <a:lnTo>
                  <a:pt x="512" y="313"/>
                </a:lnTo>
                <a:lnTo>
                  <a:pt x="522" y="296"/>
                </a:lnTo>
                <a:lnTo>
                  <a:pt x="534" y="280"/>
                </a:lnTo>
                <a:lnTo>
                  <a:pt x="548" y="264"/>
                </a:lnTo>
                <a:lnTo>
                  <a:pt x="564" y="251"/>
                </a:lnTo>
                <a:lnTo>
                  <a:pt x="582" y="237"/>
                </a:lnTo>
                <a:lnTo>
                  <a:pt x="600" y="223"/>
                </a:lnTo>
                <a:lnTo>
                  <a:pt x="621" y="211"/>
                </a:lnTo>
                <a:lnTo>
                  <a:pt x="643" y="200"/>
                </a:lnTo>
                <a:lnTo>
                  <a:pt x="665" y="189"/>
                </a:lnTo>
                <a:lnTo>
                  <a:pt x="688" y="178"/>
                </a:lnTo>
                <a:lnTo>
                  <a:pt x="712" y="169"/>
                </a:lnTo>
                <a:lnTo>
                  <a:pt x="735" y="161"/>
                </a:lnTo>
                <a:lnTo>
                  <a:pt x="760" y="153"/>
                </a:lnTo>
                <a:lnTo>
                  <a:pt x="783" y="146"/>
                </a:lnTo>
                <a:lnTo>
                  <a:pt x="807" y="140"/>
                </a:lnTo>
                <a:lnTo>
                  <a:pt x="830" y="136"/>
                </a:lnTo>
                <a:lnTo>
                  <a:pt x="854" y="132"/>
                </a:lnTo>
                <a:lnTo>
                  <a:pt x="874" y="129"/>
                </a:lnTo>
                <a:lnTo>
                  <a:pt x="895" y="128"/>
                </a:lnTo>
                <a:lnTo>
                  <a:pt x="914" y="127"/>
                </a:lnTo>
                <a:lnTo>
                  <a:pt x="932" y="128"/>
                </a:lnTo>
                <a:lnTo>
                  <a:pt x="949" y="129"/>
                </a:lnTo>
                <a:lnTo>
                  <a:pt x="962" y="132"/>
                </a:lnTo>
                <a:lnTo>
                  <a:pt x="975" y="136"/>
                </a:lnTo>
                <a:lnTo>
                  <a:pt x="986" y="140"/>
                </a:lnTo>
                <a:lnTo>
                  <a:pt x="993" y="147"/>
                </a:lnTo>
                <a:lnTo>
                  <a:pt x="998" y="154"/>
                </a:lnTo>
                <a:lnTo>
                  <a:pt x="1013" y="187"/>
                </a:lnTo>
                <a:lnTo>
                  <a:pt x="1073" y="209"/>
                </a:lnTo>
                <a:lnTo>
                  <a:pt x="1082" y="215"/>
                </a:lnTo>
                <a:lnTo>
                  <a:pt x="1092" y="220"/>
                </a:lnTo>
                <a:lnTo>
                  <a:pt x="1100" y="227"/>
                </a:lnTo>
                <a:lnTo>
                  <a:pt x="1108" y="235"/>
                </a:lnTo>
                <a:lnTo>
                  <a:pt x="1117" y="245"/>
                </a:lnTo>
                <a:lnTo>
                  <a:pt x="1123" y="255"/>
                </a:lnTo>
                <a:lnTo>
                  <a:pt x="1129" y="267"/>
                </a:lnTo>
                <a:lnTo>
                  <a:pt x="1136" y="278"/>
                </a:lnTo>
                <a:lnTo>
                  <a:pt x="1140" y="292"/>
                </a:lnTo>
                <a:lnTo>
                  <a:pt x="1144" y="306"/>
                </a:lnTo>
                <a:lnTo>
                  <a:pt x="1147" y="319"/>
                </a:lnTo>
                <a:lnTo>
                  <a:pt x="1150" y="333"/>
                </a:lnTo>
                <a:lnTo>
                  <a:pt x="1150" y="348"/>
                </a:lnTo>
                <a:lnTo>
                  <a:pt x="1150" y="364"/>
                </a:lnTo>
                <a:lnTo>
                  <a:pt x="1148" y="379"/>
                </a:lnTo>
                <a:lnTo>
                  <a:pt x="1147" y="394"/>
                </a:lnTo>
                <a:lnTo>
                  <a:pt x="1107" y="587"/>
                </a:lnTo>
                <a:lnTo>
                  <a:pt x="1103" y="614"/>
                </a:lnTo>
                <a:lnTo>
                  <a:pt x="1097" y="642"/>
                </a:lnTo>
                <a:lnTo>
                  <a:pt x="1090" y="669"/>
                </a:lnTo>
                <a:lnTo>
                  <a:pt x="1081" y="694"/>
                </a:lnTo>
                <a:lnTo>
                  <a:pt x="1068" y="719"/>
                </a:lnTo>
                <a:lnTo>
                  <a:pt x="1055" y="741"/>
                </a:lnTo>
                <a:lnTo>
                  <a:pt x="1039" y="763"/>
                </a:lnTo>
                <a:lnTo>
                  <a:pt x="1022" y="782"/>
                </a:lnTo>
                <a:lnTo>
                  <a:pt x="1004" y="800"/>
                </a:lnTo>
                <a:lnTo>
                  <a:pt x="983" y="817"/>
                </a:lnTo>
                <a:lnTo>
                  <a:pt x="962" y="830"/>
                </a:lnTo>
                <a:lnTo>
                  <a:pt x="939" y="841"/>
                </a:lnTo>
                <a:lnTo>
                  <a:pt x="916" y="851"/>
                </a:lnTo>
                <a:lnTo>
                  <a:pt x="891" y="858"/>
                </a:lnTo>
                <a:lnTo>
                  <a:pt x="865" y="862"/>
                </a:lnTo>
                <a:lnTo>
                  <a:pt x="837" y="863"/>
                </a:lnTo>
                <a:lnTo>
                  <a:pt x="811" y="862"/>
                </a:lnTo>
                <a:lnTo>
                  <a:pt x="786" y="858"/>
                </a:lnTo>
                <a:lnTo>
                  <a:pt x="761" y="851"/>
                </a:lnTo>
                <a:lnTo>
                  <a:pt x="738" y="843"/>
                </a:lnTo>
                <a:lnTo>
                  <a:pt x="716" y="832"/>
                </a:lnTo>
                <a:lnTo>
                  <a:pt x="695" y="818"/>
                </a:lnTo>
                <a:lnTo>
                  <a:pt x="675" y="803"/>
                </a:lnTo>
                <a:lnTo>
                  <a:pt x="657" y="786"/>
                </a:lnTo>
                <a:lnTo>
                  <a:pt x="639" y="767"/>
                </a:lnTo>
                <a:lnTo>
                  <a:pt x="624" y="746"/>
                </a:lnTo>
                <a:lnTo>
                  <a:pt x="610" y="724"/>
                </a:lnTo>
                <a:lnTo>
                  <a:pt x="598" y="701"/>
                </a:lnTo>
                <a:lnTo>
                  <a:pt x="588" y="676"/>
                </a:lnTo>
                <a:lnTo>
                  <a:pt x="580" y="651"/>
                </a:lnTo>
                <a:lnTo>
                  <a:pt x="574" y="625"/>
                </a:lnTo>
                <a:lnTo>
                  <a:pt x="570" y="598"/>
                </a:lnTo>
                <a:close/>
                <a:moveTo>
                  <a:pt x="2740" y="2532"/>
                </a:moveTo>
                <a:lnTo>
                  <a:pt x="2740" y="2532"/>
                </a:lnTo>
                <a:lnTo>
                  <a:pt x="2748" y="2534"/>
                </a:lnTo>
                <a:lnTo>
                  <a:pt x="2755" y="2535"/>
                </a:lnTo>
                <a:lnTo>
                  <a:pt x="2760" y="2539"/>
                </a:lnTo>
                <a:lnTo>
                  <a:pt x="2767" y="2543"/>
                </a:lnTo>
                <a:lnTo>
                  <a:pt x="2771" y="2549"/>
                </a:lnTo>
                <a:lnTo>
                  <a:pt x="2774" y="2556"/>
                </a:lnTo>
                <a:lnTo>
                  <a:pt x="2777" y="2563"/>
                </a:lnTo>
                <a:lnTo>
                  <a:pt x="2777" y="2571"/>
                </a:lnTo>
                <a:lnTo>
                  <a:pt x="2777" y="2578"/>
                </a:lnTo>
                <a:lnTo>
                  <a:pt x="2774" y="2585"/>
                </a:lnTo>
                <a:lnTo>
                  <a:pt x="2771" y="2591"/>
                </a:lnTo>
                <a:lnTo>
                  <a:pt x="2767" y="2597"/>
                </a:lnTo>
                <a:lnTo>
                  <a:pt x="2760" y="2601"/>
                </a:lnTo>
                <a:lnTo>
                  <a:pt x="2755" y="2605"/>
                </a:lnTo>
                <a:lnTo>
                  <a:pt x="2748" y="2607"/>
                </a:lnTo>
                <a:lnTo>
                  <a:pt x="2740" y="2608"/>
                </a:lnTo>
                <a:lnTo>
                  <a:pt x="2733" y="2607"/>
                </a:lnTo>
                <a:lnTo>
                  <a:pt x="2726" y="2605"/>
                </a:lnTo>
                <a:lnTo>
                  <a:pt x="2719" y="2601"/>
                </a:lnTo>
                <a:lnTo>
                  <a:pt x="2714" y="2597"/>
                </a:lnTo>
                <a:lnTo>
                  <a:pt x="2709" y="2591"/>
                </a:lnTo>
                <a:lnTo>
                  <a:pt x="2705" y="2585"/>
                </a:lnTo>
                <a:lnTo>
                  <a:pt x="2703" y="2578"/>
                </a:lnTo>
                <a:lnTo>
                  <a:pt x="2703" y="2571"/>
                </a:lnTo>
                <a:lnTo>
                  <a:pt x="2703" y="2563"/>
                </a:lnTo>
                <a:lnTo>
                  <a:pt x="2705" y="2556"/>
                </a:lnTo>
                <a:lnTo>
                  <a:pt x="2709" y="2549"/>
                </a:lnTo>
                <a:lnTo>
                  <a:pt x="2714" y="2543"/>
                </a:lnTo>
                <a:lnTo>
                  <a:pt x="2719" y="2539"/>
                </a:lnTo>
                <a:lnTo>
                  <a:pt x="2726" y="2535"/>
                </a:lnTo>
                <a:lnTo>
                  <a:pt x="2733" y="2534"/>
                </a:lnTo>
                <a:lnTo>
                  <a:pt x="2740" y="2532"/>
                </a:lnTo>
                <a:close/>
                <a:moveTo>
                  <a:pt x="1256" y="2571"/>
                </a:moveTo>
                <a:lnTo>
                  <a:pt x="1256" y="2571"/>
                </a:lnTo>
                <a:lnTo>
                  <a:pt x="1256" y="2578"/>
                </a:lnTo>
                <a:lnTo>
                  <a:pt x="1258" y="2585"/>
                </a:lnTo>
                <a:lnTo>
                  <a:pt x="1261" y="2591"/>
                </a:lnTo>
                <a:lnTo>
                  <a:pt x="1267" y="2597"/>
                </a:lnTo>
                <a:lnTo>
                  <a:pt x="1272" y="2601"/>
                </a:lnTo>
                <a:lnTo>
                  <a:pt x="1278" y="2605"/>
                </a:lnTo>
                <a:lnTo>
                  <a:pt x="1285" y="2607"/>
                </a:lnTo>
                <a:lnTo>
                  <a:pt x="1293" y="2608"/>
                </a:lnTo>
                <a:lnTo>
                  <a:pt x="1300" y="2607"/>
                </a:lnTo>
                <a:lnTo>
                  <a:pt x="1308" y="2605"/>
                </a:lnTo>
                <a:lnTo>
                  <a:pt x="1313" y="2601"/>
                </a:lnTo>
                <a:lnTo>
                  <a:pt x="1319" y="2597"/>
                </a:lnTo>
                <a:lnTo>
                  <a:pt x="1324" y="2591"/>
                </a:lnTo>
                <a:lnTo>
                  <a:pt x="1327" y="2585"/>
                </a:lnTo>
                <a:lnTo>
                  <a:pt x="1330" y="2578"/>
                </a:lnTo>
                <a:lnTo>
                  <a:pt x="1330" y="2571"/>
                </a:lnTo>
                <a:lnTo>
                  <a:pt x="1330" y="2563"/>
                </a:lnTo>
                <a:lnTo>
                  <a:pt x="1327" y="2556"/>
                </a:lnTo>
                <a:lnTo>
                  <a:pt x="1324" y="2549"/>
                </a:lnTo>
                <a:lnTo>
                  <a:pt x="1319" y="2543"/>
                </a:lnTo>
                <a:lnTo>
                  <a:pt x="1313" y="2539"/>
                </a:lnTo>
                <a:lnTo>
                  <a:pt x="1308" y="2535"/>
                </a:lnTo>
                <a:lnTo>
                  <a:pt x="1300" y="2534"/>
                </a:lnTo>
                <a:lnTo>
                  <a:pt x="1293" y="2532"/>
                </a:lnTo>
                <a:lnTo>
                  <a:pt x="1285" y="2534"/>
                </a:lnTo>
                <a:lnTo>
                  <a:pt x="1278" y="2535"/>
                </a:lnTo>
                <a:lnTo>
                  <a:pt x="1272" y="2539"/>
                </a:lnTo>
                <a:lnTo>
                  <a:pt x="1267" y="2543"/>
                </a:lnTo>
                <a:lnTo>
                  <a:pt x="1261" y="2549"/>
                </a:lnTo>
                <a:lnTo>
                  <a:pt x="1258" y="2556"/>
                </a:lnTo>
                <a:lnTo>
                  <a:pt x="1256" y="2563"/>
                </a:lnTo>
                <a:lnTo>
                  <a:pt x="1256" y="2571"/>
                </a:lnTo>
                <a:close/>
                <a:moveTo>
                  <a:pt x="1251" y="2704"/>
                </a:moveTo>
                <a:lnTo>
                  <a:pt x="1505" y="3027"/>
                </a:lnTo>
                <a:lnTo>
                  <a:pt x="1486" y="2704"/>
                </a:lnTo>
                <a:lnTo>
                  <a:pt x="1251" y="2704"/>
                </a:lnTo>
                <a:close/>
                <a:moveTo>
                  <a:pt x="2785" y="2704"/>
                </a:moveTo>
                <a:lnTo>
                  <a:pt x="2546" y="2704"/>
                </a:lnTo>
                <a:lnTo>
                  <a:pt x="2526" y="3034"/>
                </a:lnTo>
                <a:lnTo>
                  <a:pt x="2785" y="2704"/>
                </a:lnTo>
                <a:close/>
                <a:moveTo>
                  <a:pt x="3814" y="2411"/>
                </a:moveTo>
                <a:lnTo>
                  <a:pt x="3636" y="2411"/>
                </a:lnTo>
                <a:lnTo>
                  <a:pt x="3704" y="2710"/>
                </a:lnTo>
                <a:lnTo>
                  <a:pt x="3814" y="2412"/>
                </a:lnTo>
                <a:lnTo>
                  <a:pt x="3814" y="2411"/>
                </a:lnTo>
                <a:close/>
                <a:moveTo>
                  <a:pt x="3072" y="1142"/>
                </a:moveTo>
                <a:lnTo>
                  <a:pt x="2858" y="1197"/>
                </a:lnTo>
                <a:lnTo>
                  <a:pt x="2858" y="2601"/>
                </a:lnTo>
                <a:lnTo>
                  <a:pt x="2939" y="2200"/>
                </a:lnTo>
                <a:lnTo>
                  <a:pt x="3552" y="2200"/>
                </a:lnTo>
                <a:lnTo>
                  <a:pt x="3552" y="1625"/>
                </a:lnTo>
                <a:lnTo>
                  <a:pt x="3581" y="1462"/>
                </a:lnTo>
                <a:lnTo>
                  <a:pt x="3635" y="1472"/>
                </a:lnTo>
                <a:lnTo>
                  <a:pt x="3607" y="1630"/>
                </a:lnTo>
                <a:lnTo>
                  <a:pt x="3607" y="2278"/>
                </a:lnTo>
                <a:lnTo>
                  <a:pt x="3624" y="2356"/>
                </a:lnTo>
                <a:lnTo>
                  <a:pt x="3811" y="2356"/>
                </a:lnTo>
                <a:lnTo>
                  <a:pt x="3750" y="1301"/>
                </a:lnTo>
                <a:lnTo>
                  <a:pt x="3749" y="1287"/>
                </a:lnTo>
                <a:lnTo>
                  <a:pt x="3743" y="1275"/>
                </a:lnTo>
                <a:lnTo>
                  <a:pt x="3737" y="1263"/>
                </a:lnTo>
                <a:lnTo>
                  <a:pt x="3727" y="1250"/>
                </a:lnTo>
                <a:lnTo>
                  <a:pt x="3715" y="1239"/>
                </a:lnTo>
                <a:lnTo>
                  <a:pt x="3701" y="1230"/>
                </a:lnTo>
                <a:lnTo>
                  <a:pt x="3686" y="1220"/>
                </a:lnTo>
                <a:lnTo>
                  <a:pt x="3668" y="1213"/>
                </a:lnTo>
                <a:lnTo>
                  <a:pt x="3471" y="1142"/>
                </a:lnTo>
                <a:lnTo>
                  <a:pt x="3388" y="1471"/>
                </a:lnTo>
                <a:lnTo>
                  <a:pt x="3385" y="1483"/>
                </a:lnTo>
                <a:lnTo>
                  <a:pt x="3381" y="1494"/>
                </a:lnTo>
                <a:lnTo>
                  <a:pt x="3376" y="1504"/>
                </a:lnTo>
                <a:lnTo>
                  <a:pt x="3370" y="1513"/>
                </a:lnTo>
                <a:lnTo>
                  <a:pt x="3363" y="1522"/>
                </a:lnTo>
                <a:lnTo>
                  <a:pt x="3357" y="1530"/>
                </a:lnTo>
                <a:lnTo>
                  <a:pt x="3350" y="1537"/>
                </a:lnTo>
                <a:lnTo>
                  <a:pt x="3341" y="1542"/>
                </a:lnTo>
                <a:lnTo>
                  <a:pt x="3333" y="1548"/>
                </a:lnTo>
                <a:lnTo>
                  <a:pt x="3325" y="1552"/>
                </a:lnTo>
                <a:lnTo>
                  <a:pt x="3307" y="1559"/>
                </a:lnTo>
                <a:lnTo>
                  <a:pt x="3289" y="1562"/>
                </a:lnTo>
                <a:lnTo>
                  <a:pt x="3270" y="1562"/>
                </a:lnTo>
                <a:lnTo>
                  <a:pt x="3251" y="1560"/>
                </a:lnTo>
                <a:lnTo>
                  <a:pt x="3233" y="1555"/>
                </a:lnTo>
                <a:lnTo>
                  <a:pt x="3215" y="1546"/>
                </a:lnTo>
                <a:lnTo>
                  <a:pt x="3198" y="1537"/>
                </a:lnTo>
                <a:lnTo>
                  <a:pt x="3183" y="1523"/>
                </a:lnTo>
                <a:lnTo>
                  <a:pt x="3178" y="1516"/>
                </a:lnTo>
                <a:lnTo>
                  <a:pt x="3171" y="1508"/>
                </a:lnTo>
                <a:lnTo>
                  <a:pt x="3165" y="1500"/>
                </a:lnTo>
                <a:lnTo>
                  <a:pt x="3161" y="1491"/>
                </a:lnTo>
                <a:lnTo>
                  <a:pt x="3157" y="1482"/>
                </a:lnTo>
                <a:lnTo>
                  <a:pt x="3154" y="1471"/>
                </a:lnTo>
                <a:lnTo>
                  <a:pt x="3072" y="1142"/>
                </a:lnTo>
                <a:close/>
                <a:moveTo>
                  <a:pt x="114" y="2687"/>
                </a:moveTo>
                <a:lnTo>
                  <a:pt x="179" y="2687"/>
                </a:lnTo>
                <a:lnTo>
                  <a:pt x="346" y="2687"/>
                </a:lnTo>
                <a:lnTo>
                  <a:pt x="295" y="1435"/>
                </a:lnTo>
                <a:lnTo>
                  <a:pt x="350" y="1433"/>
                </a:lnTo>
                <a:lnTo>
                  <a:pt x="392" y="2458"/>
                </a:lnTo>
                <a:lnTo>
                  <a:pt x="1179" y="2458"/>
                </a:lnTo>
                <a:lnTo>
                  <a:pt x="1179" y="1078"/>
                </a:lnTo>
                <a:lnTo>
                  <a:pt x="1035" y="1040"/>
                </a:lnTo>
                <a:lnTo>
                  <a:pt x="1082" y="938"/>
                </a:lnTo>
                <a:lnTo>
                  <a:pt x="1212" y="975"/>
                </a:lnTo>
                <a:lnTo>
                  <a:pt x="1227" y="958"/>
                </a:lnTo>
                <a:lnTo>
                  <a:pt x="1243" y="945"/>
                </a:lnTo>
                <a:lnTo>
                  <a:pt x="1261" y="932"/>
                </a:lnTo>
                <a:lnTo>
                  <a:pt x="1282" y="920"/>
                </a:lnTo>
                <a:lnTo>
                  <a:pt x="1304" y="909"/>
                </a:lnTo>
                <a:lnTo>
                  <a:pt x="1327" y="899"/>
                </a:lnTo>
                <a:lnTo>
                  <a:pt x="1378" y="880"/>
                </a:lnTo>
                <a:lnTo>
                  <a:pt x="1777" y="735"/>
                </a:lnTo>
                <a:lnTo>
                  <a:pt x="1907" y="1502"/>
                </a:lnTo>
                <a:lnTo>
                  <a:pt x="1973" y="949"/>
                </a:lnTo>
                <a:lnTo>
                  <a:pt x="1956" y="940"/>
                </a:lnTo>
                <a:lnTo>
                  <a:pt x="1941" y="931"/>
                </a:lnTo>
                <a:lnTo>
                  <a:pt x="1929" y="918"/>
                </a:lnTo>
                <a:lnTo>
                  <a:pt x="1919" y="905"/>
                </a:lnTo>
                <a:lnTo>
                  <a:pt x="2018" y="810"/>
                </a:lnTo>
                <a:lnTo>
                  <a:pt x="2117" y="905"/>
                </a:lnTo>
                <a:lnTo>
                  <a:pt x="2108" y="918"/>
                </a:lnTo>
                <a:lnTo>
                  <a:pt x="2094" y="931"/>
                </a:lnTo>
                <a:lnTo>
                  <a:pt x="2080" y="940"/>
                </a:lnTo>
                <a:lnTo>
                  <a:pt x="2064" y="949"/>
                </a:lnTo>
                <a:lnTo>
                  <a:pt x="2130" y="1502"/>
                </a:lnTo>
                <a:lnTo>
                  <a:pt x="2259" y="735"/>
                </a:lnTo>
                <a:lnTo>
                  <a:pt x="2659" y="880"/>
                </a:lnTo>
                <a:lnTo>
                  <a:pt x="2698" y="895"/>
                </a:lnTo>
                <a:lnTo>
                  <a:pt x="2736" y="910"/>
                </a:lnTo>
                <a:lnTo>
                  <a:pt x="2754" y="920"/>
                </a:lnTo>
                <a:lnTo>
                  <a:pt x="2770" y="928"/>
                </a:lnTo>
                <a:lnTo>
                  <a:pt x="2785" y="938"/>
                </a:lnTo>
                <a:lnTo>
                  <a:pt x="2799" y="949"/>
                </a:lnTo>
                <a:lnTo>
                  <a:pt x="2811" y="960"/>
                </a:lnTo>
                <a:lnTo>
                  <a:pt x="2824" y="972"/>
                </a:lnTo>
                <a:lnTo>
                  <a:pt x="2833" y="986"/>
                </a:lnTo>
                <a:lnTo>
                  <a:pt x="2842" y="1001"/>
                </a:lnTo>
                <a:lnTo>
                  <a:pt x="2849" y="1018"/>
                </a:lnTo>
                <a:lnTo>
                  <a:pt x="2854" y="1034"/>
                </a:lnTo>
                <a:lnTo>
                  <a:pt x="2857" y="1053"/>
                </a:lnTo>
                <a:lnTo>
                  <a:pt x="2858" y="1074"/>
                </a:lnTo>
                <a:lnTo>
                  <a:pt x="2858" y="1084"/>
                </a:lnTo>
                <a:lnTo>
                  <a:pt x="3098" y="1022"/>
                </a:lnTo>
                <a:lnTo>
                  <a:pt x="3208" y="1458"/>
                </a:lnTo>
                <a:lnTo>
                  <a:pt x="3212" y="1468"/>
                </a:lnTo>
                <a:lnTo>
                  <a:pt x="3218" y="1478"/>
                </a:lnTo>
                <a:lnTo>
                  <a:pt x="3224" y="1484"/>
                </a:lnTo>
                <a:lnTo>
                  <a:pt x="3231" y="1491"/>
                </a:lnTo>
                <a:lnTo>
                  <a:pt x="3241" y="1495"/>
                </a:lnTo>
                <a:lnTo>
                  <a:pt x="3251" y="1500"/>
                </a:lnTo>
                <a:lnTo>
                  <a:pt x="3262" y="1501"/>
                </a:lnTo>
                <a:lnTo>
                  <a:pt x="3271" y="1502"/>
                </a:lnTo>
                <a:lnTo>
                  <a:pt x="3282" y="1501"/>
                </a:lnTo>
                <a:lnTo>
                  <a:pt x="3292" y="1500"/>
                </a:lnTo>
                <a:lnTo>
                  <a:pt x="3301" y="1495"/>
                </a:lnTo>
                <a:lnTo>
                  <a:pt x="3311" y="1491"/>
                </a:lnTo>
                <a:lnTo>
                  <a:pt x="3319" y="1484"/>
                </a:lnTo>
                <a:lnTo>
                  <a:pt x="3326" y="1478"/>
                </a:lnTo>
                <a:lnTo>
                  <a:pt x="3332" y="1468"/>
                </a:lnTo>
                <a:lnTo>
                  <a:pt x="3335" y="1458"/>
                </a:lnTo>
                <a:lnTo>
                  <a:pt x="3446" y="1016"/>
                </a:lnTo>
                <a:lnTo>
                  <a:pt x="3719" y="1115"/>
                </a:lnTo>
                <a:lnTo>
                  <a:pt x="3732" y="1121"/>
                </a:lnTo>
                <a:lnTo>
                  <a:pt x="3748" y="1128"/>
                </a:lnTo>
                <a:lnTo>
                  <a:pt x="3761" y="1136"/>
                </a:lnTo>
                <a:lnTo>
                  <a:pt x="3774" y="1144"/>
                </a:lnTo>
                <a:lnTo>
                  <a:pt x="3786" y="1154"/>
                </a:lnTo>
                <a:lnTo>
                  <a:pt x="3797" y="1164"/>
                </a:lnTo>
                <a:lnTo>
                  <a:pt x="3808" y="1173"/>
                </a:lnTo>
                <a:lnTo>
                  <a:pt x="3818" y="1186"/>
                </a:lnTo>
                <a:lnTo>
                  <a:pt x="3826" y="1197"/>
                </a:lnTo>
                <a:lnTo>
                  <a:pt x="3834" y="1209"/>
                </a:lnTo>
                <a:lnTo>
                  <a:pt x="3841" y="1223"/>
                </a:lnTo>
                <a:lnTo>
                  <a:pt x="3848" y="1235"/>
                </a:lnTo>
                <a:lnTo>
                  <a:pt x="3852" y="1250"/>
                </a:lnTo>
                <a:lnTo>
                  <a:pt x="3856" y="1264"/>
                </a:lnTo>
                <a:lnTo>
                  <a:pt x="3859" y="1279"/>
                </a:lnTo>
                <a:lnTo>
                  <a:pt x="3860" y="1294"/>
                </a:lnTo>
                <a:lnTo>
                  <a:pt x="3925" y="2429"/>
                </a:lnTo>
                <a:lnTo>
                  <a:pt x="3796" y="2777"/>
                </a:lnTo>
                <a:lnTo>
                  <a:pt x="3994" y="3791"/>
                </a:lnTo>
                <a:lnTo>
                  <a:pt x="3943" y="3791"/>
                </a:lnTo>
                <a:lnTo>
                  <a:pt x="3657" y="3791"/>
                </a:lnTo>
                <a:lnTo>
                  <a:pt x="3529" y="4711"/>
                </a:lnTo>
                <a:lnTo>
                  <a:pt x="3417" y="4711"/>
                </a:lnTo>
                <a:lnTo>
                  <a:pt x="3545" y="3791"/>
                </a:lnTo>
                <a:lnTo>
                  <a:pt x="3304" y="3791"/>
                </a:lnTo>
                <a:lnTo>
                  <a:pt x="3299" y="4711"/>
                </a:lnTo>
                <a:lnTo>
                  <a:pt x="3244" y="4711"/>
                </a:lnTo>
                <a:lnTo>
                  <a:pt x="3249" y="3791"/>
                </a:lnTo>
                <a:lnTo>
                  <a:pt x="2970" y="3791"/>
                </a:lnTo>
                <a:lnTo>
                  <a:pt x="3098" y="4711"/>
                </a:lnTo>
                <a:lnTo>
                  <a:pt x="3043" y="4711"/>
                </a:lnTo>
                <a:lnTo>
                  <a:pt x="2915" y="3791"/>
                </a:lnTo>
                <a:lnTo>
                  <a:pt x="2613" y="3791"/>
                </a:lnTo>
                <a:lnTo>
                  <a:pt x="2829" y="2740"/>
                </a:lnTo>
                <a:lnTo>
                  <a:pt x="2519" y="3130"/>
                </a:lnTo>
                <a:lnTo>
                  <a:pt x="2424" y="4704"/>
                </a:lnTo>
                <a:lnTo>
                  <a:pt x="2043" y="4704"/>
                </a:lnTo>
                <a:lnTo>
                  <a:pt x="2043" y="2839"/>
                </a:lnTo>
                <a:lnTo>
                  <a:pt x="1988" y="2839"/>
                </a:lnTo>
                <a:lnTo>
                  <a:pt x="1988" y="4704"/>
                </a:lnTo>
                <a:lnTo>
                  <a:pt x="1607" y="4704"/>
                </a:lnTo>
                <a:lnTo>
                  <a:pt x="1512" y="3123"/>
                </a:lnTo>
                <a:lnTo>
                  <a:pt x="1348" y="2916"/>
                </a:lnTo>
                <a:lnTo>
                  <a:pt x="1231" y="4700"/>
                </a:lnTo>
                <a:lnTo>
                  <a:pt x="865" y="4700"/>
                </a:lnTo>
                <a:lnTo>
                  <a:pt x="865" y="2839"/>
                </a:lnTo>
                <a:lnTo>
                  <a:pt x="810" y="2839"/>
                </a:lnTo>
                <a:lnTo>
                  <a:pt x="810" y="4700"/>
                </a:lnTo>
                <a:lnTo>
                  <a:pt x="423" y="4700"/>
                </a:lnTo>
                <a:lnTo>
                  <a:pt x="304" y="3207"/>
                </a:lnTo>
                <a:lnTo>
                  <a:pt x="112" y="2797"/>
                </a:lnTo>
                <a:lnTo>
                  <a:pt x="0" y="2797"/>
                </a:lnTo>
                <a:lnTo>
                  <a:pt x="52" y="1274"/>
                </a:lnTo>
                <a:lnTo>
                  <a:pt x="54" y="1257"/>
                </a:lnTo>
                <a:lnTo>
                  <a:pt x="56" y="1242"/>
                </a:lnTo>
                <a:lnTo>
                  <a:pt x="59" y="1227"/>
                </a:lnTo>
                <a:lnTo>
                  <a:pt x="65" y="1212"/>
                </a:lnTo>
                <a:lnTo>
                  <a:pt x="70" y="1197"/>
                </a:lnTo>
                <a:lnTo>
                  <a:pt x="78" y="1183"/>
                </a:lnTo>
                <a:lnTo>
                  <a:pt x="87" y="1169"/>
                </a:lnTo>
                <a:lnTo>
                  <a:pt x="95" y="1157"/>
                </a:lnTo>
                <a:lnTo>
                  <a:pt x="106" y="1144"/>
                </a:lnTo>
                <a:lnTo>
                  <a:pt x="117" y="1133"/>
                </a:lnTo>
                <a:lnTo>
                  <a:pt x="128" y="1122"/>
                </a:lnTo>
                <a:lnTo>
                  <a:pt x="140" y="1113"/>
                </a:lnTo>
                <a:lnTo>
                  <a:pt x="154" y="1103"/>
                </a:lnTo>
                <a:lnTo>
                  <a:pt x="168" y="1096"/>
                </a:lnTo>
                <a:lnTo>
                  <a:pt x="183" y="1089"/>
                </a:lnTo>
                <a:lnTo>
                  <a:pt x="198" y="1084"/>
                </a:lnTo>
                <a:lnTo>
                  <a:pt x="596" y="951"/>
                </a:lnTo>
                <a:lnTo>
                  <a:pt x="643" y="1052"/>
                </a:lnTo>
                <a:lnTo>
                  <a:pt x="233" y="1188"/>
                </a:lnTo>
                <a:lnTo>
                  <a:pt x="218" y="1194"/>
                </a:lnTo>
                <a:lnTo>
                  <a:pt x="205" y="1202"/>
                </a:lnTo>
                <a:lnTo>
                  <a:pt x="193" y="1212"/>
                </a:lnTo>
                <a:lnTo>
                  <a:pt x="183" y="1224"/>
                </a:lnTo>
                <a:lnTo>
                  <a:pt x="175" y="1237"/>
                </a:lnTo>
                <a:lnTo>
                  <a:pt x="168" y="1249"/>
                </a:lnTo>
                <a:lnTo>
                  <a:pt x="164" y="1263"/>
                </a:lnTo>
                <a:lnTo>
                  <a:pt x="162" y="1278"/>
                </a:lnTo>
                <a:lnTo>
                  <a:pt x="114" y="2687"/>
                </a:lnTo>
                <a:close/>
                <a:moveTo>
                  <a:pt x="348" y="2742"/>
                </a:moveTo>
                <a:lnTo>
                  <a:pt x="205" y="2742"/>
                </a:lnTo>
                <a:lnTo>
                  <a:pt x="362" y="3069"/>
                </a:lnTo>
                <a:lnTo>
                  <a:pt x="348" y="2742"/>
                </a:lnTo>
                <a:close/>
                <a:moveTo>
                  <a:pt x="2211" y="209"/>
                </a:moveTo>
                <a:lnTo>
                  <a:pt x="2211" y="209"/>
                </a:lnTo>
                <a:lnTo>
                  <a:pt x="2206" y="194"/>
                </a:lnTo>
                <a:lnTo>
                  <a:pt x="2197" y="180"/>
                </a:lnTo>
                <a:lnTo>
                  <a:pt x="2188" y="167"/>
                </a:lnTo>
                <a:lnTo>
                  <a:pt x="2178" y="154"/>
                </a:lnTo>
                <a:lnTo>
                  <a:pt x="2168" y="143"/>
                </a:lnTo>
                <a:lnTo>
                  <a:pt x="2156" y="134"/>
                </a:lnTo>
                <a:lnTo>
                  <a:pt x="2145" y="125"/>
                </a:lnTo>
                <a:lnTo>
                  <a:pt x="2133" y="117"/>
                </a:lnTo>
                <a:lnTo>
                  <a:pt x="2122" y="132"/>
                </a:lnTo>
                <a:lnTo>
                  <a:pt x="2108" y="146"/>
                </a:lnTo>
                <a:lnTo>
                  <a:pt x="2094" y="158"/>
                </a:lnTo>
                <a:lnTo>
                  <a:pt x="2079" y="168"/>
                </a:lnTo>
                <a:lnTo>
                  <a:pt x="2064" y="176"/>
                </a:lnTo>
                <a:lnTo>
                  <a:pt x="2046" y="183"/>
                </a:lnTo>
                <a:lnTo>
                  <a:pt x="2029" y="186"/>
                </a:lnTo>
                <a:lnTo>
                  <a:pt x="2010" y="187"/>
                </a:lnTo>
                <a:lnTo>
                  <a:pt x="1992" y="186"/>
                </a:lnTo>
                <a:lnTo>
                  <a:pt x="1976" y="183"/>
                </a:lnTo>
                <a:lnTo>
                  <a:pt x="1959" y="178"/>
                </a:lnTo>
                <a:lnTo>
                  <a:pt x="1944" y="169"/>
                </a:lnTo>
                <a:lnTo>
                  <a:pt x="1929" y="160"/>
                </a:lnTo>
                <a:lnTo>
                  <a:pt x="1915" y="149"/>
                </a:lnTo>
                <a:lnTo>
                  <a:pt x="1903" y="136"/>
                </a:lnTo>
                <a:lnTo>
                  <a:pt x="1892" y="123"/>
                </a:lnTo>
                <a:lnTo>
                  <a:pt x="1881" y="129"/>
                </a:lnTo>
                <a:lnTo>
                  <a:pt x="1870" y="138"/>
                </a:lnTo>
                <a:lnTo>
                  <a:pt x="1859" y="147"/>
                </a:lnTo>
                <a:lnTo>
                  <a:pt x="1849" y="158"/>
                </a:lnTo>
                <a:lnTo>
                  <a:pt x="1841" y="171"/>
                </a:lnTo>
                <a:lnTo>
                  <a:pt x="1832" y="183"/>
                </a:lnTo>
                <a:lnTo>
                  <a:pt x="1826" y="197"/>
                </a:lnTo>
                <a:lnTo>
                  <a:pt x="1819" y="211"/>
                </a:lnTo>
                <a:lnTo>
                  <a:pt x="1815" y="227"/>
                </a:lnTo>
                <a:lnTo>
                  <a:pt x="1810" y="242"/>
                </a:lnTo>
                <a:lnTo>
                  <a:pt x="1808" y="259"/>
                </a:lnTo>
                <a:lnTo>
                  <a:pt x="1806" y="277"/>
                </a:lnTo>
                <a:lnTo>
                  <a:pt x="1806" y="365"/>
                </a:lnTo>
                <a:lnTo>
                  <a:pt x="1808" y="390"/>
                </a:lnTo>
                <a:lnTo>
                  <a:pt x="1810" y="414"/>
                </a:lnTo>
                <a:lnTo>
                  <a:pt x="1816" y="437"/>
                </a:lnTo>
                <a:lnTo>
                  <a:pt x="1823" y="460"/>
                </a:lnTo>
                <a:lnTo>
                  <a:pt x="1832" y="481"/>
                </a:lnTo>
                <a:lnTo>
                  <a:pt x="1842" y="500"/>
                </a:lnTo>
                <a:lnTo>
                  <a:pt x="1855" y="519"/>
                </a:lnTo>
                <a:lnTo>
                  <a:pt x="1868" y="536"/>
                </a:lnTo>
                <a:lnTo>
                  <a:pt x="1883" y="551"/>
                </a:lnTo>
                <a:lnTo>
                  <a:pt x="1900" y="565"/>
                </a:lnTo>
                <a:lnTo>
                  <a:pt x="1916" y="576"/>
                </a:lnTo>
                <a:lnTo>
                  <a:pt x="1936" y="587"/>
                </a:lnTo>
                <a:lnTo>
                  <a:pt x="1955" y="593"/>
                </a:lnTo>
                <a:lnTo>
                  <a:pt x="1974" y="599"/>
                </a:lnTo>
                <a:lnTo>
                  <a:pt x="1995" y="603"/>
                </a:lnTo>
                <a:lnTo>
                  <a:pt x="2016" y="604"/>
                </a:lnTo>
                <a:lnTo>
                  <a:pt x="2036" y="603"/>
                </a:lnTo>
                <a:lnTo>
                  <a:pt x="2057" y="599"/>
                </a:lnTo>
                <a:lnTo>
                  <a:pt x="2076" y="593"/>
                </a:lnTo>
                <a:lnTo>
                  <a:pt x="2095" y="587"/>
                </a:lnTo>
                <a:lnTo>
                  <a:pt x="2115" y="576"/>
                </a:lnTo>
                <a:lnTo>
                  <a:pt x="2131" y="565"/>
                </a:lnTo>
                <a:lnTo>
                  <a:pt x="2148" y="551"/>
                </a:lnTo>
                <a:lnTo>
                  <a:pt x="2163" y="536"/>
                </a:lnTo>
                <a:lnTo>
                  <a:pt x="2177" y="519"/>
                </a:lnTo>
                <a:lnTo>
                  <a:pt x="2189" y="500"/>
                </a:lnTo>
                <a:lnTo>
                  <a:pt x="2199" y="481"/>
                </a:lnTo>
                <a:lnTo>
                  <a:pt x="2208" y="460"/>
                </a:lnTo>
                <a:lnTo>
                  <a:pt x="2215" y="437"/>
                </a:lnTo>
                <a:lnTo>
                  <a:pt x="2221" y="414"/>
                </a:lnTo>
                <a:lnTo>
                  <a:pt x="2223" y="390"/>
                </a:lnTo>
                <a:lnTo>
                  <a:pt x="2225" y="365"/>
                </a:lnTo>
                <a:lnTo>
                  <a:pt x="2225" y="281"/>
                </a:lnTo>
                <a:lnTo>
                  <a:pt x="2223" y="262"/>
                </a:lnTo>
                <a:lnTo>
                  <a:pt x="2221" y="244"/>
                </a:lnTo>
                <a:lnTo>
                  <a:pt x="2217" y="226"/>
                </a:lnTo>
                <a:lnTo>
                  <a:pt x="2211" y="209"/>
                </a:lnTo>
                <a:close/>
                <a:moveTo>
                  <a:pt x="2016" y="0"/>
                </a:moveTo>
                <a:lnTo>
                  <a:pt x="2016" y="0"/>
                </a:lnTo>
                <a:lnTo>
                  <a:pt x="2043" y="1"/>
                </a:lnTo>
                <a:lnTo>
                  <a:pt x="2069" y="6"/>
                </a:lnTo>
                <a:lnTo>
                  <a:pt x="2095" y="14"/>
                </a:lnTo>
                <a:lnTo>
                  <a:pt x="2120" y="23"/>
                </a:lnTo>
                <a:lnTo>
                  <a:pt x="2144" y="36"/>
                </a:lnTo>
                <a:lnTo>
                  <a:pt x="2164" y="51"/>
                </a:lnTo>
                <a:lnTo>
                  <a:pt x="2185" y="67"/>
                </a:lnTo>
                <a:lnTo>
                  <a:pt x="2204" y="87"/>
                </a:lnTo>
                <a:lnTo>
                  <a:pt x="2221" y="109"/>
                </a:lnTo>
                <a:lnTo>
                  <a:pt x="2236" y="131"/>
                </a:lnTo>
                <a:lnTo>
                  <a:pt x="2248" y="156"/>
                </a:lnTo>
                <a:lnTo>
                  <a:pt x="2259" y="182"/>
                </a:lnTo>
                <a:lnTo>
                  <a:pt x="2269" y="208"/>
                </a:lnTo>
                <a:lnTo>
                  <a:pt x="2274" y="235"/>
                </a:lnTo>
                <a:lnTo>
                  <a:pt x="2279" y="264"/>
                </a:lnTo>
                <a:lnTo>
                  <a:pt x="2280" y="295"/>
                </a:lnTo>
                <a:lnTo>
                  <a:pt x="2280" y="365"/>
                </a:lnTo>
                <a:lnTo>
                  <a:pt x="2279" y="394"/>
                </a:lnTo>
                <a:lnTo>
                  <a:pt x="2274" y="423"/>
                </a:lnTo>
                <a:lnTo>
                  <a:pt x="2269" y="452"/>
                </a:lnTo>
                <a:lnTo>
                  <a:pt x="2259" y="478"/>
                </a:lnTo>
                <a:lnTo>
                  <a:pt x="2248" y="504"/>
                </a:lnTo>
                <a:lnTo>
                  <a:pt x="2236" y="527"/>
                </a:lnTo>
                <a:lnTo>
                  <a:pt x="2221" y="551"/>
                </a:lnTo>
                <a:lnTo>
                  <a:pt x="2204" y="571"/>
                </a:lnTo>
                <a:lnTo>
                  <a:pt x="2185" y="591"/>
                </a:lnTo>
                <a:lnTo>
                  <a:pt x="2164" y="609"/>
                </a:lnTo>
                <a:lnTo>
                  <a:pt x="2144" y="624"/>
                </a:lnTo>
                <a:lnTo>
                  <a:pt x="2120" y="636"/>
                </a:lnTo>
                <a:lnTo>
                  <a:pt x="2095" y="646"/>
                </a:lnTo>
                <a:lnTo>
                  <a:pt x="2069" y="653"/>
                </a:lnTo>
                <a:lnTo>
                  <a:pt x="2043" y="658"/>
                </a:lnTo>
                <a:lnTo>
                  <a:pt x="2016" y="660"/>
                </a:lnTo>
                <a:lnTo>
                  <a:pt x="1988" y="658"/>
                </a:lnTo>
                <a:lnTo>
                  <a:pt x="1962" y="653"/>
                </a:lnTo>
                <a:lnTo>
                  <a:pt x="1936" y="646"/>
                </a:lnTo>
                <a:lnTo>
                  <a:pt x="1911" y="636"/>
                </a:lnTo>
                <a:lnTo>
                  <a:pt x="1888" y="624"/>
                </a:lnTo>
                <a:lnTo>
                  <a:pt x="1867" y="609"/>
                </a:lnTo>
                <a:lnTo>
                  <a:pt x="1846" y="591"/>
                </a:lnTo>
                <a:lnTo>
                  <a:pt x="1827" y="571"/>
                </a:lnTo>
                <a:lnTo>
                  <a:pt x="1810" y="551"/>
                </a:lnTo>
                <a:lnTo>
                  <a:pt x="1795" y="527"/>
                </a:lnTo>
                <a:lnTo>
                  <a:pt x="1783" y="504"/>
                </a:lnTo>
                <a:lnTo>
                  <a:pt x="1772" y="478"/>
                </a:lnTo>
                <a:lnTo>
                  <a:pt x="1762" y="452"/>
                </a:lnTo>
                <a:lnTo>
                  <a:pt x="1757" y="423"/>
                </a:lnTo>
                <a:lnTo>
                  <a:pt x="1753" y="394"/>
                </a:lnTo>
                <a:lnTo>
                  <a:pt x="1751" y="365"/>
                </a:lnTo>
                <a:lnTo>
                  <a:pt x="1751" y="295"/>
                </a:lnTo>
                <a:lnTo>
                  <a:pt x="1753" y="264"/>
                </a:lnTo>
                <a:lnTo>
                  <a:pt x="1757" y="235"/>
                </a:lnTo>
                <a:lnTo>
                  <a:pt x="1762" y="208"/>
                </a:lnTo>
                <a:lnTo>
                  <a:pt x="1772" y="182"/>
                </a:lnTo>
                <a:lnTo>
                  <a:pt x="1783" y="156"/>
                </a:lnTo>
                <a:lnTo>
                  <a:pt x="1795" y="131"/>
                </a:lnTo>
                <a:lnTo>
                  <a:pt x="1810" y="109"/>
                </a:lnTo>
                <a:lnTo>
                  <a:pt x="1827" y="87"/>
                </a:lnTo>
                <a:lnTo>
                  <a:pt x="1846" y="67"/>
                </a:lnTo>
                <a:lnTo>
                  <a:pt x="1867" y="51"/>
                </a:lnTo>
                <a:lnTo>
                  <a:pt x="1888" y="36"/>
                </a:lnTo>
                <a:lnTo>
                  <a:pt x="1911" y="23"/>
                </a:lnTo>
                <a:lnTo>
                  <a:pt x="1936" y="14"/>
                </a:lnTo>
                <a:lnTo>
                  <a:pt x="1962" y="6"/>
                </a:lnTo>
                <a:lnTo>
                  <a:pt x="1988" y="1"/>
                </a:lnTo>
                <a:lnTo>
                  <a:pt x="2016" y="0"/>
                </a:lnTo>
                <a:close/>
                <a:moveTo>
                  <a:pt x="3508" y="792"/>
                </a:moveTo>
                <a:lnTo>
                  <a:pt x="3508" y="792"/>
                </a:lnTo>
                <a:lnTo>
                  <a:pt x="3526" y="800"/>
                </a:lnTo>
                <a:lnTo>
                  <a:pt x="3547" y="806"/>
                </a:lnTo>
                <a:lnTo>
                  <a:pt x="3567" y="808"/>
                </a:lnTo>
                <a:lnTo>
                  <a:pt x="3588" y="808"/>
                </a:lnTo>
                <a:lnTo>
                  <a:pt x="3591" y="807"/>
                </a:lnTo>
                <a:lnTo>
                  <a:pt x="3588" y="819"/>
                </a:lnTo>
                <a:lnTo>
                  <a:pt x="3585" y="830"/>
                </a:lnTo>
                <a:lnTo>
                  <a:pt x="3581" y="841"/>
                </a:lnTo>
                <a:lnTo>
                  <a:pt x="3577" y="852"/>
                </a:lnTo>
                <a:lnTo>
                  <a:pt x="3571" y="862"/>
                </a:lnTo>
                <a:lnTo>
                  <a:pt x="3564" y="872"/>
                </a:lnTo>
                <a:lnTo>
                  <a:pt x="3558" y="881"/>
                </a:lnTo>
                <a:lnTo>
                  <a:pt x="3549" y="890"/>
                </a:lnTo>
                <a:lnTo>
                  <a:pt x="3541" y="896"/>
                </a:lnTo>
                <a:lnTo>
                  <a:pt x="3533" y="903"/>
                </a:lnTo>
                <a:lnTo>
                  <a:pt x="3523" y="910"/>
                </a:lnTo>
                <a:lnTo>
                  <a:pt x="3512" y="914"/>
                </a:lnTo>
                <a:lnTo>
                  <a:pt x="3501" y="920"/>
                </a:lnTo>
                <a:lnTo>
                  <a:pt x="3490" y="923"/>
                </a:lnTo>
                <a:lnTo>
                  <a:pt x="3479" y="925"/>
                </a:lnTo>
                <a:lnTo>
                  <a:pt x="3467" y="927"/>
                </a:lnTo>
                <a:lnTo>
                  <a:pt x="3446" y="927"/>
                </a:lnTo>
                <a:lnTo>
                  <a:pt x="3425" y="924"/>
                </a:lnTo>
                <a:lnTo>
                  <a:pt x="3406" y="920"/>
                </a:lnTo>
                <a:lnTo>
                  <a:pt x="3388" y="912"/>
                </a:lnTo>
                <a:lnTo>
                  <a:pt x="3374" y="920"/>
                </a:lnTo>
                <a:lnTo>
                  <a:pt x="3359" y="927"/>
                </a:lnTo>
                <a:lnTo>
                  <a:pt x="3346" y="934"/>
                </a:lnTo>
                <a:lnTo>
                  <a:pt x="3329" y="938"/>
                </a:lnTo>
                <a:lnTo>
                  <a:pt x="3314" y="942"/>
                </a:lnTo>
                <a:lnTo>
                  <a:pt x="3297" y="945"/>
                </a:lnTo>
                <a:lnTo>
                  <a:pt x="3281" y="947"/>
                </a:lnTo>
                <a:lnTo>
                  <a:pt x="3264" y="947"/>
                </a:lnTo>
                <a:lnTo>
                  <a:pt x="3248" y="947"/>
                </a:lnTo>
                <a:lnTo>
                  <a:pt x="3231" y="945"/>
                </a:lnTo>
                <a:lnTo>
                  <a:pt x="3215" y="942"/>
                </a:lnTo>
                <a:lnTo>
                  <a:pt x="3200" y="938"/>
                </a:lnTo>
                <a:lnTo>
                  <a:pt x="3184" y="934"/>
                </a:lnTo>
                <a:lnTo>
                  <a:pt x="3169" y="927"/>
                </a:lnTo>
                <a:lnTo>
                  <a:pt x="3154" y="920"/>
                </a:lnTo>
                <a:lnTo>
                  <a:pt x="3140" y="912"/>
                </a:lnTo>
                <a:lnTo>
                  <a:pt x="3123" y="920"/>
                </a:lnTo>
                <a:lnTo>
                  <a:pt x="3103" y="924"/>
                </a:lnTo>
                <a:lnTo>
                  <a:pt x="3083" y="927"/>
                </a:lnTo>
                <a:lnTo>
                  <a:pt x="3063" y="927"/>
                </a:lnTo>
                <a:lnTo>
                  <a:pt x="3051" y="925"/>
                </a:lnTo>
                <a:lnTo>
                  <a:pt x="3039" y="923"/>
                </a:lnTo>
                <a:lnTo>
                  <a:pt x="3028" y="920"/>
                </a:lnTo>
                <a:lnTo>
                  <a:pt x="3016" y="914"/>
                </a:lnTo>
                <a:lnTo>
                  <a:pt x="3007" y="910"/>
                </a:lnTo>
                <a:lnTo>
                  <a:pt x="2997" y="903"/>
                </a:lnTo>
                <a:lnTo>
                  <a:pt x="2988" y="896"/>
                </a:lnTo>
                <a:lnTo>
                  <a:pt x="2979" y="890"/>
                </a:lnTo>
                <a:lnTo>
                  <a:pt x="2971" y="881"/>
                </a:lnTo>
                <a:lnTo>
                  <a:pt x="2964" y="872"/>
                </a:lnTo>
                <a:lnTo>
                  <a:pt x="2957" y="862"/>
                </a:lnTo>
                <a:lnTo>
                  <a:pt x="2952" y="852"/>
                </a:lnTo>
                <a:lnTo>
                  <a:pt x="2948" y="841"/>
                </a:lnTo>
                <a:lnTo>
                  <a:pt x="2944" y="830"/>
                </a:lnTo>
                <a:lnTo>
                  <a:pt x="2941" y="819"/>
                </a:lnTo>
                <a:lnTo>
                  <a:pt x="2939" y="807"/>
                </a:lnTo>
                <a:lnTo>
                  <a:pt x="2941" y="808"/>
                </a:lnTo>
                <a:lnTo>
                  <a:pt x="2963" y="808"/>
                </a:lnTo>
                <a:lnTo>
                  <a:pt x="2982" y="806"/>
                </a:lnTo>
                <a:lnTo>
                  <a:pt x="3003" y="800"/>
                </a:lnTo>
                <a:lnTo>
                  <a:pt x="3022" y="792"/>
                </a:lnTo>
                <a:lnTo>
                  <a:pt x="3012" y="777"/>
                </a:lnTo>
                <a:lnTo>
                  <a:pt x="3004" y="761"/>
                </a:lnTo>
                <a:lnTo>
                  <a:pt x="2997" y="745"/>
                </a:lnTo>
                <a:lnTo>
                  <a:pt x="2992" y="726"/>
                </a:lnTo>
                <a:lnTo>
                  <a:pt x="2988" y="706"/>
                </a:lnTo>
                <a:lnTo>
                  <a:pt x="2983" y="687"/>
                </a:lnTo>
                <a:lnTo>
                  <a:pt x="2982" y="665"/>
                </a:lnTo>
                <a:lnTo>
                  <a:pt x="2981" y="642"/>
                </a:lnTo>
                <a:lnTo>
                  <a:pt x="2981" y="574"/>
                </a:lnTo>
                <a:lnTo>
                  <a:pt x="2982" y="541"/>
                </a:lnTo>
                <a:lnTo>
                  <a:pt x="2986" y="508"/>
                </a:lnTo>
                <a:lnTo>
                  <a:pt x="2993" y="475"/>
                </a:lnTo>
                <a:lnTo>
                  <a:pt x="3003" y="445"/>
                </a:lnTo>
                <a:lnTo>
                  <a:pt x="3014" y="414"/>
                </a:lnTo>
                <a:lnTo>
                  <a:pt x="3028" y="387"/>
                </a:lnTo>
                <a:lnTo>
                  <a:pt x="3044" y="361"/>
                </a:lnTo>
                <a:lnTo>
                  <a:pt x="3062" y="336"/>
                </a:lnTo>
                <a:lnTo>
                  <a:pt x="3083" y="314"/>
                </a:lnTo>
                <a:lnTo>
                  <a:pt x="3103" y="293"/>
                </a:lnTo>
                <a:lnTo>
                  <a:pt x="3127" y="275"/>
                </a:lnTo>
                <a:lnTo>
                  <a:pt x="3151" y="262"/>
                </a:lnTo>
                <a:lnTo>
                  <a:pt x="3165" y="255"/>
                </a:lnTo>
                <a:lnTo>
                  <a:pt x="3178" y="249"/>
                </a:lnTo>
                <a:lnTo>
                  <a:pt x="3191" y="245"/>
                </a:lnTo>
                <a:lnTo>
                  <a:pt x="3205" y="241"/>
                </a:lnTo>
                <a:lnTo>
                  <a:pt x="3220" y="237"/>
                </a:lnTo>
                <a:lnTo>
                  <a:pt x="3234" y="235"/>
                </a:lnTo>
                <a:lnTo>
                  <a:pt x="3249" y="234"/>
                </a:lnTo>
                <a:lnTo>
                  <a:pt x="3264" y="233"/>
                </a:lnTo>
                <a:lnTo>
                  <a:pt x="3279" y="234"/>
                </a:lnTo>
                <a:lnTo>
                  <a:pt x="3295" y="235"/>
                </a:lnTo>
                <a:lnTo>
                  <a:pt x="3308" y="237"/>
                </a:lnTo>
                <a:lnTo>
                  <a:pt x="3324" y="241"/>
                </a:lnTo>
                <a:lnTo>
                  <a:pt x="3337" y="245"/>
                </a:lnTo>
                <a:lnTo>
                  <a:pt x="3351" y="249"/>
                </a:lnTo>
                <a:lnTo>
                  <a:pt x="3365" y="255"/>
                </a:lnTo>
                <a:lnTo>
                  <a:pt x="3377" y="262"/>
                </a:lnTo>
                <a:lnTo>
                  <a:pt x="3402" y="275"/>
                </a:lnTo>
                <a:lnTo>
                  <a:pt x="3425" y="293"/>
                </a:lnTo>
                <a:lnTo>
                  <a:pt x="3447" y="314"/>
                </a:lnTo>
                <a:lnTo>
                  <a:pt x="3467" y="336"/>
                </a:lnTo>
                <a:lnTo>
                  <a:pt x="3485" y="361"/>
                </a:lnTo>
                <a:lnTo>
                  <a:pt x="3501" y="387"/>
                </a:lnTo>
                <a:lnTo>
                  <a:pt x="3515" y="414"/>
                </a:lnTo>
                <a:lnTo>
                  <a:pt x="3526" y="445"/>
                </a:lnTo>
                <a:lnTo>
                  <a:pt x="3536" y="475"/>
                </a:lnTo>
                <a:lnTo>
                  <a:pt x="3542" y="508"/>
                </a:lnTo>
                <a:lnTo>
                  <a:pt x="3547" y="541"/>
                </a:lnTo>
                <a:lnTo>
                  <a:pt x="3548" y="574"/>
                </a:lnTo>
                <a:lnTo>
                  <a:pt x="3548" y="642"/>
                </a:lnTo>
                <a:lnTo>
                  <a:pt x="3547" y="665"/>
                </a:lnTo>
                <a:lnTo>
                  <a:pt x="3545" y="687"/>
                </a:lnTo>
                <a:lnTo>
                  <a:pt x="3541" y="706"/>
                </a:lnTo>
                <a:lnTo>
                  <a:pt x="3537" y="726"/>
                </a:lnTo>
                <a:lnTo>
                  <a:pt x="3531" y="745"/>
                </a:lnTo>
                <a:lnTo>
                  <a:pt x="3525" y="761"/>
                </a:lnTo>
                <a:lnTo>
                  <a:pt x="3516" y="777"/>
                </a:lnTo>
                <a:lnTo>
                  <a:pt x="3508" y="792"/>
                </a:lnTo>
                <a:close/>
                <a:moveTo>
                  <a:pt x="3385" y="406"/>
                </a:moveTo>
                <a:lnTo>
                  <a:pt x="3385" y="406"/>
                </a:lnTo>
                <a:lnTo>
                  <a:pt x="3376" y="424"/>
                </a:lnTo>
                <a:lnTo>
                  <a:pt x="3365" y="441"/>
                </a:lnTo>
                <a:lnTo>
                  <a:pt x="3352" y="456"/>
                </a:lnTo>
                <a:lnTo>
                  <a:pt x="3340" y="471"/>
                </a:lnTo>
                <a:lnTo>
                  <a:pt x="3326" y="486"/>
                </a:lnTo>
                <a:lnTo>
                  <a:pt x="3311" y="498"/>
                </a:lnTo>
                <a:lnTo>
                  <a:pt x="3295" y="511"/>
                </a:lnTo>
                <a:lnTo>
                  <a:pt x="3278" y="522"/>
                </a:lnTo>
                <a:lnTo>
                  <a:pt x="3260" y="532"/>
                </a:lnTo>
                <a:lnTo>
                  <a:pt x="3242" y="541"/>
                </a:lnTo>
                <a:lnTo>
                  <a:pt x="3224" y="548"/>
                </a:lnTo>
                <a:lnTo>
                  <a:pt x="3205" y="555"/>
                </a:lnTo>
                <a:lnTo>
                  <a:pt x="3184" y="559"/>
                </a:lnTo>
                <a:lnTo>
                  <a:pt x="3164" y="563"/>
                </a:lnTo>
                <a:lnTo>
                  <a:pt x="3143" y="566"/>
                </a:lnTo>
                <a:lnTo>
                  <a:pt x="3123" y="566"/>
                </a:lnTo>
                <a:lnTo>
                  <a:pt x="3095" y="565"/>
                </a:lnTo>
                <a:lnTo>
                  <a:pt x="3067" y="562"/>
                </a:lnTo>
                <a:lnTo>
                  <a:pt x="3066" y="585"/>
                </a:lnTo>
                <a:lnTo>
                  <a:pt x="3066" y="665"/>
                </a:lnTo>
                <a:lnTo>
                  <a:pt x="3067" y="690"/>
                </a:lnTo>
                <a:lnTo>
                  <a:pt x="3070" y="712"/>
                </a:lnTo>
                <a:lnTo>
                  <a:pt x="3076" y="734"/>
                </a:lnTo>
                <a:lnTo>
                  <a:pt x="3083" y="755"/>
                </a:lnTo>
                <a:lnTo>
                  <a:pt x="3091" y="775"/>
                </a:lnTo>
                <a:lnTo>
                  <a:pt x="3100" y="793"/>
                </a:lnTo>
                <a:lnTo>
                  <a:pt x="3113" y="811"/>
                </a:lnTo>
                <a:lnTo>
                  <a:pt x="3125" y="828"/>
                </a:lnTo>
                <a:lnTo>
                  <a:pt x="3139" y="841"/>
                </a:lnTo>
                <a:lnTo>
                  <a:pt x="3156" y="855"/>
                </a:lnTo>
                <a:lnTo>
                  <a:pt x="3171" y="866"/>
                </a:lnTo>
                <a:lnTo>
                  <a:pt x="3189" y="874"/>
                </a:lnTo>
                <a:lnTo>
                  <a:pt x="3206" y="883"/>
                </a:lnTo>
                <a:lnTo>
                  <a:pt x="3226" y="888"/>
                </a:lnTo>
                <a:lnTo>
                  <a:pt x="3245" y="891"/>
                </a:lnTo>
                <a:lnTo>
                  <a:pt x="3264" y="892"/>
                </a:lnTo>
                <a:lnTo>
                  <a:pt x="3284" y="891"/>
                </a:lnTo>
                <a:lnTo>
                  <a:pt x="3303" y="888"/>
                </a:lnTo>
                <a:lnTo>
                  <a:pt x="3322" y="883"/>
                </a:lnTo>
                <a:lnTo>
                  <a:pt x="3340" y="874"/>
                </a:lnTo>
                <a:lnTo>
                  <a:pt x="3358" y="866"/>
                </a:lnTo>
                <a:lnTo>
                  <a:pt x="3374" y="855"/>
                </a:lnTo>
                <a:lnTo>
                  <a:pt x="3390" y="841"/>
                </a:lnTo>
                <a:lnTo>
                  <a:pt x="3403" y="828"/>
                </a:lnTo>
                <a:lnTo>
                  <a:pt x="3416" y="811"/>
                </a:lnTo>
                <a:lnTo>
                  <a:pt x="3428" y="793"/>
                </a:lnTo>
                <a:lnTo>
                  <a:pt x="3438" y="775"/>
                </a:lnTo>
                <a:lnTo>
                  <a:pt x="3446" y="755"/>
                </a:lnTo>
                <a:lnTo>
                  <a:pt x="3453" y="734"/>
                </a:lnTo>
                <a:lnTo>
                  <a:pt x="3458" y="712"/>
                </a:lnTo>
                <a:lnTo>
                  <a:pt x="3461" y="690"/>
                </a:lnTo>
                <a:lnTo>
                  <a:pt x="3463" y="665"/>
                </a:lnTo>
                <a:lnTo>
                  <a:pt x="3463" y="585"/>
                </a:lnTo>
                <a:lnTo>
                  <a:pt x="3461" y="558"/>
                </a:lnTo>
                <a:lnTo>
                  <a:pt x="3457" y="532"/>
                </a:lnTo>
                <a:lnTo>
                  <a:pt x="3450" y="507"/>
                </a:lnTo>
                <a:lnTo>
                  <a:pt x="3442" y="483"/>
                </a:lnTo>
                <a:lnTo>
                  <a:pt x="3431" y="461"/>
                </a:lnTo>
                <a:lnTo>
                  <a:pt x="3417" y="441"/>
                </a:lnTo>
                <a:lnTo>
                  <a:pt x="3402" y="423"/>
                </a:lnTo>
                <a:lnTo>
                  <a:pt x="3385" y="406"/>
                </a:lnTo>
                <a:close/>
                <a:moveTo>
                  <a:pt x="186" y="2587"/>
                </a:moveTo>
                <a:lnTo>
                  <a:pt x="186" y="2587"/>
                </a:lnTo>
                <a:lnTo>
                  <a:pt x="186" y="2579"/>
                </a:lnTo>
                <a:lnTo>
                  <a:pt x="189" y="2572"/>
                </a:lnTo>
                <a:lnTo>
                  <a:pt x="193" y="2565"/>
                </a:lnTo>
                <a:lnTo>
                  <a:pt x="197" y="2560"/>
                </a:lnTo>
                <a:lnTo>
                  <a:pt x="202" y="2556"/>
                </a:lnTo>
                <a:lnTo>
                  <a:pt x="209" y="2552"/>
                </a:lnTo>
                <a:lnTo>
                  <a:pt x="216" y="2550"/>
                </a:lnTo>
                <a:lnTo>
                  <a:pt x="223" y="2549"/>
                </a:lnTo>
                <a:lnTo>
                  <a:pt x="231" y="2550"/>
                </a:lnTo>
                <a:lnTo>
                  <a:pt x="238" y="2552"/>
                </a:lnTo>
                <a:lnTo>
                  <a:pt x="244" y="2556"/>
                </a:lnTo>
                <a:lnTo>
                  <a:pt x="249" y="2560"/>
                </a:lnTo>
                <a:lnTo>
                  <a:pt x="255" y="2565"/>
                </a:lnTo>
                <a:lnTo>
                  <a:pt x="257" y="2572"/>
                </a:lnTo>
                <a:lnTo>
                  <a:pt x="260" y="2579"/>
                </a:lnTo>
                <a:lnTo>
                  <a:pt x="260" y="2587"/>
                </a:lnTo>
                <a:lnTo>
                  <a:pt x="260" y="2594"/>
                </a:lnTo>
                <a:lnTo>
                  <a:pt x="257" y="2601"/>
                </a:lnTo>
                <a:lnTo>
                  <a:pt x="255" y="2608"/>
                </a:lnTo>
                <a:lnTo>
                  <a:pt x="249" y="2614"/>
                </a:lnTo>
                <a:lnTo>
                  <a:pt x="244" y="2618"/>
                </a:lnTo>
                <a:lnTo>
                  <a:pt x="238" y="2622"/>
                </a:lnTo>
                <a:lnTo>
                  <a:pt x="231" y="2623"/>
                </a:lnTo>
                <a:lnTo>
                  <a:pt x="223" y="2625"/>
                </a:lnTo>
                <a:lnTo>
                  <a:pt x="216" y="2623"/>
                </a:lnTo>
                <a:lnTo>
                  <a:pt x="209" y="2622"/>
                </a:lnTo>
                <a:lnTo>
                  <a:pt x="202" y="2618"/>
                </a:lnTo>
                <a:lnTo>
                  <a:pt x="197" y="2614"/>
                </a:lnTo>
                <a:lnTo>
                  <a:pt x="193" y="2608"/>
                </a:lnTo>
                <a:lnTo>
                  <a:pt x="189" y="2601"/>
                </a:lnTo>
                <a:lnTo>
                  <a:pt x="186" y="2594"/>
                </a:lnTo>
                <a:lnTo>
                  <a:pt x="186" y="2587"/>
                </a:lnTo>
                <a:close/>
                <a:moveTo>
                  <a:pt x="720" y="2260"/>
                </a:moveTo>
                <a:lnTo>
                  <a:pt x="792" y="1121"/>
                </a:lnTo>
                <a:lnTo>
                  <a:pt x="783" y="1115"/>
                </a:lnTo>
                <a:lnTo>
                  <a:pt x="776" y="1108"/>
                </a:lnTo>
                <a:lnTo>
                  <a:pt x="770" y="1102"/>
                </a:lnTo>
                <a:lnTo>
                  <a:pt x="764" y="1095"/>
                </a:lnTo>
                <a:lnTo>
                  <a:pt x="760" y="1086"/>
                </a:lnTo>
                <a:lnTo>
                  <a:pt x="756" y="1078"/>
                </a:lnTo>
                <a:lnTo>
                  <a:pt x="753" y="1069"/>
                </a:lnTo>
                <a:lnTo>
                  <a:pt x="752" y="1059"/>
                </a:lnTo>
                <a:lnTo>
                  <a:pt x="837" y="980"/>
                </a:lnTo>
                <a:lnTo>
                  <a:pt x="924" y="1059"/>
                </a:lnTo>
                <a:lnTo>
                  <a:pt x="922" y="1069"/>
                </a:lnTo>
                <a:lnTo>
                  <a:pt x="920" y="1078"/>
                </a:lnTo>
                <a:lnTo>
                  <a:pt x="916" y="1086"/>
                </a:lnTo>
                <a:lnTo>
                  <a:pt x="910" y="1095"/>
                </a:lnTo>
                <a:lnTo>
                  <a:pt x="905" y="1102"/>
                </a:lnTo>
                <a:lnTo>
                  <a:pt x="899" y="1108"/>
                </a:lnTo>
                <a:lnTo>
                  <a:pt x="892" y="1115"/>
                </a:lnTo>
                <a:lnTo>
                  <a:pt x="884" y="1121"/>
                </a:lnTo>
                <a:lnTo>
                  <a:pt x="955" y="2260"/>
                </a:lnTo>
                <a:lnTo>
                  <a:pt x="837" y="2397"/>
                </a:lnTo>
                <a:lnTo>
                  <a:pt x="720" y="2260"/>
                </a:lnTo>
                <a:close/>
              </a:path>
            </a:pathLst>
          </a:custGeom>
          <a:solidFill>
            <a:srgbClr val="14AA96"/>
          </a:solidFill>
          <a:ln>
            <a:noFill/>
          </a:ln>
        </p:spPr>
        <p:txBody>
          <a:bodyPr/>
          <a:lstStyle/>
          <a:p>
            <a:endParaRPr lang="ru-RU">
              <a:solidFill>
                <a:srgbClr val="14AA96"/>
              </a:solidFill>
            </a:endParaRPr>
          </a:p>
        </p:txBody>
      </p:sp>
      <p:grpSp>
        <p:nvGrpSpPr>
          <p:cNvPr id="13" name="Group 75"/>
          <p:cNvGrpSpPr>
            <a:grpSpLocks noChangeAspect="1"/>
          </p:cNvGrpSpPr>
          <p:nvPr/>
        </p:nvGrpSpPr>
        <p:grpSpPr bwMode="auto">
          <a:xfrm>
            <a:off x="5798156" y="1850168"/>
            <a:ext cx="948245" cy="755408"/>
            <a:chOff x="4533" y="810"/>
            <a:chExt cx="883" cy="704"/>
          </a:xfrm>
        </p:grpSpPr>
        <p:sp>
          <p:nvSpPr>
            <p:cNvPr id="14" name="AutoShape 74"/>
            <p:cNvSpPr>
              <a:spLocks noChangeAspect="1" noChangeArrowheads="1" noTextEdit="1"/>
            </p:cNvSpPr>
            <p:nvPr/>
          </p:nvSpPr>
          <p:spPr bwMode="auto">
            <a:xfrm>
              <a:off x="4533" y="810"/>
              <a:ext cx="883" cy="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5" name="Freeform 76"/>
            <p:cNvSpPr>
              <a:spLocks noEditPoints="1"/>
            </p:cNvSpPr>
            <p:nvPr/>
          </p:nvSpPr>
          <p:spPr bwMode="auto">
            <a:xfrm>
              <a:off x="4533" y="809"/>
              <a:ext cx="884" cy="585"/>
            </a:xfrm>
            <a:custGeom>
              <a:avLst/>
              <a:gdLst>
                <a:gd name="T0" fmla="*/ 107 w 736"/>
                <a:gd name="T1" fmla="*/ 1478 h 486"/>
                <a:gd name="T2" fmla="*/ 0 w 736"/>
                <a:gd name="T3" fmla="*/ 1372 h 486"/>
                <a:gd name="T4" fmla="*/ 0 w 736"/>
                <a:gd name="T5" fmla="*/ 106 h 486"/>
                <a:gd name="T6" fmla="*/ 107 w 736"/>
                <a:gd name="T7" fmla="*/ 0 h 486"/>
                <a:gd name="T8" fmla="*/ 2109 w 736"/>
                <a:gd name="T9" fmla="*/ 0 h 486"/>
                <a:gd name="T10" fmla="*/ 2211 w 736"/>
                <a:gd name="T11" fmla="*/ 106 h 486"/>
                <a:gd name="T12" fmla="*/ 2211 w 736"/>
                <a:gd name="T13" fmla="*/ 1375 h 486"/>
                <a:gd name="T14" fmla="*/ 2109 w 736"/>
                <a:gd name="T15" fmla="*/ 1478 h 486"/>
                <a:gd name="T16" fmla="*/ 107 w 736"/>
                <a:gd name="T17" fmla="*/ 1478 h 486"/>
                <a:gd name="T18" fmla="*/ 136 w 736"/>
                <a:gd name="T19" fmla="*/ 136 h 486"/>
                <a:gd name="T20" fmla="*/ 136 w 736"/>
                <a:gd name="T21" fmla="*/ 1207 h 486"/>
                <a:gd name="T22" fmla="*/ 2078 w 736"/>
                <a:gd name="T23" fmla="*/ 1207 h 486"/>
                <a:gd name="T24" fmla="*/ 2078 w 736"/>
                <a:gd name="T25" fmla="*/ 136 h 486"/>
                <a:gd name="T26" fmla="*/ 136 w 736"/>
                <a:gd name="T27" fmla="*/ 136 h 4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36"/>
                <a:gd name="T43" fmla="*/ 0 h 486"/>
                <a:gd name="T44" fmla="*/ 736 w 736"/>
                <a:gd name="T45" fmla="*/ 486 h 4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36" h="486">
                  <a:moveTo>
                    <a:pt x="36" y="486"/>
                  </a:moveTo>
                  <a:cubicBezTo>
                    <a:pt x="14" y="486"/>
                    <a:pt x="0" y="472"/>
                    <a:pt x="0" y="451"/>
                  </a:cubicBezTo>
                  <a:cubicBezTo>
                    <a:pt x="1" y="312"/>
                    <a:pt x="1" y="174"/>
                    <a:pt x="0" y="35"/>
                  </a:cubicBezTo>
                  <a:cubicBezTo>
                    <a:pt x="0" y="14"/>
                    <a:pt x="14" y="0"/>
                    <a:pt x="36" y="0"/>
                  </a:cubicBezTo>
                  <a:cubicBezTo>
                    <a:pt x="258" y="0"/>
                    <a:pt x="480" y="0"/>
                    <a:pt x="702" y="0"/>
                  </a:cubicBezTo>
                  <a:cubicBezTo>
                    <a:pt x="725" y="0"/>
                    <a:pt x="736" y="11"/>
                    <a:pt x="736" y="35"/>
                  </a:cubicBezTo>
                  <a:cubicBezTo>
                    <a:pt x="736" y="174"/>
                    <a:pt x="736" y="313"/>
                    <a:pt x="736" y="452"/>
                  </a:cubicBezTo>
                  <a:cubicBezTo>
                    <a:pt x="736" y="475"/>
                    <a:pt x="725" y="486"/>
                    <a:pt x="702" y="486"/>
                  </a:cubicBezTo>
                  <a:cubicBezTo>
                    <a:pt x="591" y="486"/>
                    <a:pt x="146" y="486"/>
                    <a:pt x="36" y="486"/>
                  </a:cubicBezTo>
                  <a:close/>
                  <a:moveTo>
                    <a:pt x="45" y="45"/>
                  </a:moveTo>
                  <a:cubicBezTo>
                    <a:pt x="45" y="163"/>
                    <a:pt x="45" y="280"/>
                    <a:pt x="45" y="397"/>
                  </a:cubicBezTo>
                  <a:cubicBezTo>
                    <a:pt x="261" y="397"/>
                    <a:pt x="477" y="397"/>
                    <a:pt x="692" y="397"/>
                  </a:cubicBezTo>
                  <a:cubicBezTo>
                    <a:pt x="692" y="279"/>
                    <a:pt x="692" y="162"/>
                    <a:pt x="692" y="45"/>
                  </a:cubicBezTo>
                  <a:cubicBezTo>
                    <a:pt x="476" y="45"/>
                    <a:pt x="261" y="45"/>
                    <a:pt x="45" y="45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6" name="Freeform 77"/>
            <p:cNvSpPr>
              <a:spLocks noEditPoints="1"/>
            </p:cNvSpPr>
            <p:nvPr/>
          </p:nvSpPr>
          <p:spPr bwMode="auto">
            <a:xfrm>
              <a:off x="4533" y="809"/>
              <a:ext cx="884" cy="585"/>
            </a:xfrm>
            <a:custGeom>
              <a:avLst/>
              <a:gdLst>
                <a:gd name="T0" fmla="*/ 107 w 736"/>
                <a:gd name="T1" fmla="*/ 1478 h 486"/>
                <a:gd name="T2" fmla="*/ 0 w 736"/>
                <a:gd name="T3" fmla="*/ 1372 h 486"/>
                <a:gd name="T4" fmla="*/ 0 w 736"/>
                <a:gd name="T5" fmla="*/ 106 h 486"/>
                <a:gd name="T6" fmla="*/ 107 w 736"/>
                <a:gd name="T7" fmla="*/ 0 h 486"/>
                <a:gd name="T8" fmla="*/ 2109 w 736"/>
                <a:gd name="T9" fmla="*/ 0 h 486"/>
                <a:gd name="T10" fmla="*/ 2211 w 736"/>
                <a:gd name="T11" fmla="*/ 106 h 486"/>
                <a:gd name="T12" fmla="*/ 2211 w 736"/>
                <a:gd name="T13" fmla="*/ 1375 h 486"/>
                <a:gd name="T14" fmla="*/ 2109 w 736"/>
                <a:gd name="T15" fmla="*/ 1478 h 486"/>
                <a:gd name="T16" fmla="*/ 107 w 736"/>
                <a:gd name="T17" fmla="*/ 1478 h 486"/>
                <a:gd name="T18" fmla="*/ 136 w 736"/>
                <a:gd name="T19" fmla="*/ 136 h 486"/>
                <a:gd name="T20" fmla="*/ 136 w 736"/>
                <a:gd name="T21" fmla="*/ 1207 h 486"/>
                <a:gd name="T22" fmla="*/ 2078 w 736"/>
                <a:gd name="T23" fmla="*/ 1207 h 486"/>
                <a:gd name="T24" fmla="*/ 2078 w 736"/>
                <a:gd name="T25" fmla="*/ 136 h 486"/>
                <a:gd name="T26" fmla="*/ 136 w 736"/>
                <a:gd name="T27" fmla="*/ 136 h 4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36"/>
                <a:gd name="T43" fmla="*/ 0 h 486"/>
                <a:gd name="T44" fmla="*/ 736 w 736"/>
                <a:gd name="T45" fmla="*/ 486 h 4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36" h="486">
                  <a:moveTo>
                    <a:pt x="36" y="486"/>
                  </a:moveTo>
                  <a:cubicBezTo>
                    <a:pt x="14" y="486"/>
                    <a:pt x="0" y="472"/>
                    <a:pt x="0" y="451"/>
                  </a:cubicBezTo>
                  <a:cubicBezTo>
                    <a:pt x="1" y="312"/>
                    <a:pt x="1" y="174"/>
                    <a:pt x="0" y="35"/>
                  </a:cubicBezTo>
                  <a:cubicBezTo>
                    <a:pt x="0" y="14"/>
                    <a:pt x="14" y="0"/>
                    <a:pt x="36" y="0"/>
                  </a:cubicBezTo>
                  <a:cubicBezTo>
                    <a:pt x="258" y="0"/>
                    <a:pt x="480" y="0"/>
                    <a:pt x="702" y="0"/>
                  </a:cubicBezTo>
                  <a:cubicBezTo>
                    <a:pt x="725" y="0"/>
                    <a:pt x="736" y="11"/>
                    <a:pt x="736" y="35"/>
                  </a:cubicBezTo>
                  <a:cubicBezTo>
                    <a:pt x="736" y="174"/>
                    <a:pt x="736" y="313"/>
                    <a:pt x="736" y="452"/>
                  </a:cubicBezTo>
                  <a:cubicBezTo>
                    <a:pt x="736" y="475"/>
                    <a:pt x="725" y="486"/>
                    <a:pt x="702" y="486"/>
                  </a:cubicBezTo>
                  <a:cubicBezTo>
                    <a:pt x="591" y="486"/>
                    <a:pt x="146" y="486"/>
                    <a:pt x="36" y="486"/>
                  </a:cubicBezTo>
                  <a:close/>
                  <a:moveTo>
                    <a:pt x="45" y="45"/>
                  </a:moveTo>
                  <a:cubicBezTo>
                    <a:pt x="45" y="163"/>
                    <a:pt x="45" y="280"/>
                    <a:pt x="45" y="397"/>
                  </a:cubicBezTo>
                  <a:cubicBezTo>
                    <a:pt x="261" y="397"/>
                    <a:pt x="477" y="397"/>
                    <a:pt x="692" y="397"/>
                  </a:cubicBezTo>
                  <a:cubicBezTo>
                    <a:pt x="692" y="279"/>
                    <a:pt x="692" y="162"/>
                    <a:pt x="692" y="45"/>
                  </a:cubicBezTo>
                  <a:cubicBezTo>
                    <a:pt x="476" y="45"/>
                    <a:pt x="261" y="45"/>
                    <a:pt x="45" y="45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7" name="Freeform 78"/>
            <p:cNvSpPr>
              <a:spLocks/>
            </p:cNvSpPr>
            <p:nvPr/>
          </p:nvSpPr>
          <p:spPr bwMode="auto">
            <a:xfrm>
              <a:off x="4841" y="1430"/>
              <a:ext cx="271" cy="84"/>
            </a:xfrm>
            <a:custGeom>
              <a:avLst/>
              <a:gdLst>
                <a:gd name="T0" fmla="*/ 559 w 226"/>
                <a:gd name="T1" fmla="*/ 0 h 70"/>
                <a:gd name="T2" fmla="*/ 673 w 226"/>
                <a:gd name="T3" fmla="*/ 209 h 70"/>
                <a:gd name="T4" fmla="*/ 0 w 226"/>
                <a:gd name="T5" fmla="*/ 209 h 70"/>
                <a:gd name="T6" fmla="*/ 107 w 226"/>
                <a:gd name="T7" fmla="*/ 0 h 70"/>
                <a:gd name="T8" fmla="*/ 559 w 226"/>
                <a:gd name="T9" fmla="*/ 0 h 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6"/>
                <a:gd name="T16" fmla="*/ 0 h 70"/>
                <a:gd name="T17" fmla="*/ 226 w 226"/>
                <a:gd name="T18" fmla="*/ 70 h 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6" h="70">
                  <a:moveTo>
                    <a:pt x="188" y="0"/>
                  </a:moveTo>
                  <a:cubicBezTo>
                    <a:pt x="188" y="53"/>
                    <a:pt x="226" y="70"/>
                    <a:pt x="226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36" y="49"/>
                    <a:pt x="36" y="0"/>
                  </a:cubicBezTo>
                  <a:cubicBezTo>
                    <a:pt x="87" y="0"/>
                    <a:pt x="138" y="0"/>
                    <a:pt x="188" y="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8" name="Freeform 79"/>
            <p:cNvSpPr>
              <a:spLocks/>
            </p:cNvSpPr>
            <p:nvPr/>
          </p:nvSpPr>
          <p:spPr bwMode="auto">
            <a:xfrm>
              <a:off x="4682" y="917"/>
              <a:ext cx="547" cy="170"/>
            </a:xfrm>
            <a:custGeom>
              <a:avLst/>
              <a:gdLst>
                <a:gd name="T0" fmla="*/ 0 w 455"/>
                <a:gd name="T1" fmla="*/ 356 h 141"/>
                <a:gd name="T2" fmla="*/ 602 w 455"/>
                <a:gd name="T3" fmla="*/ 35 h 141"/>
                <a:gd name="T4" fmla="*/ 643 w 455"/>
                <a:gd name="T5" fmla="*/ 41 h 141"/>
                <a:gd name="T6" fmla="*/ 973 w 455"/>
                <a:gd name="T7" fmla="*/ 257 h 141"/>
                <a:gd name="T8" fmla="*/ 1324 w 455"/>
                <a:gd name="T9" fmla="*/ 0 h 141"/>
                <a:gd name="T10" fmla="*/ 1374 w 455"/>
                <a:gd name="T11" fmla="*/ 74 h 141"/>
                <a:gd name="T12" fmla="*/ 980 w 455"/>
                <a:gd name="T13" fmla="*/ 363 h 141"/>
                <a:gd name="T14" fmla="*/ 653 w 455"/>
                <a:gd name="T15" fmla="*/ 153 h 141"/>
                <a:gd name="T16" fmla="*/ 585 w 455"/>
                <a:gd name="T17" fmla="*/ 151 h 141"/>
                <a:gd name="T18" fmla="*/ 42 w 455"/>
                <a:gd name="T19" fmla="*/ 433 h 141"/>
                <a:gd name="T20" fmla="*/ 0 w 455"/>
                <a:gd name="T21" fmla="*/ 356 h 1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55"/>
                <a:gd name="T34" fmla="*/ 0 h 141"/>
                <a:gd name="T35" fmla="*/ 455 w 455"/>
                <a:gd name="T36" fmla="*/ 141 h 1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55" h="141">
                  <a:moveTo>
                    <a:pt x="0" y="115"/>
                  </a:moveTo>
                  <a:cubicBezTo>
                    <a:pt x="36" y="97"/>
                    <a:pt x="168" y="29"/>
                    <a:pt x="200" y="12"/>
                  </a:cubicBezTo>
                  <a:cubicBezTo>
                    <a:pt x="205" y="10"/>
                    <a:pt x="208" y="10"/>
                    <a:pt x="213" y="13"/>
                  </a:cubicBezTo>
                  <a:cubicBezTo>
                    <a:pt x="247" y="35"/>
                    <a:pt x="323" y="84"/>
                    <a:pt x="323" y="84"/>
                  </a:cubicBezTo>
                  <a:cubicBezTo>
                    <a:pt x="323" y="84"/>
                    <a:pt x="388" y="36"/>
                    <a:pt x="438" y="0"/>
                  </a:cubicBezTo>
                  <a:cubicBezTo>
                    <a:pt x="443" y="8"/>
                    <a:pt x="449" y="16"/>
                    <a:pt x="455" y="24"/>
                  </a:cubicBezTo>
                  <a:cubicBezTo>
                    <a:pt x="400" y="64"/>
                    <a:pt x="324" y="119"/>
                    <a:pt x="324" y="119"/>
                  </a:cubicBezTo>
                  <a:cubicBezTo>
                    <a:pt x="324" y="119"/>
                    <a:pt x="220" y="54"/>
                    <a:pt x="216" y="50"/>
                  </a:cubicBezTo>
                  <a:cubicBezTo>
                    <a:pt x="208" y="43"/>
                    <a:pt x="202" y="44"/>
                    <a:pt x="194" y="49"/>
                  </a:cubicBezTo>
                  <a:cubicBezTo>
                    <a:pt x="137" y="79"/>
                    <a:pt x="17" y="140"/>
                    <a:pt x="14" y="141"/>
                  </a:cubicBezTo>
                  <a:cubicBezTo>
                    <a:pt x="9" y="133"/>
                    <a:pt x="5" y="124"/>
                    <a:pt x="0" y="115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9" name="Freeform 80"/>
            <p:cNvSpPr>
              <a:spLocks/>
            </p:cNvSpPr>
            <p:nvPr/>
          </p:nvSpPr>
          <p:spPr bwMode="auto">
            <a:xfrm>
              <a:off x="4886" y="1043"/>
              <a:ext cx="69" cy="194"/>
            </a:xfrm>
            <a:custGeom>
              <a:avLst/>
              <a:gdLst>
                <a:gd name="T0" fmla="*/ 0 w 57"/>
                <a:gd name="T1" fmla="*/ 0 h 161"/>
                <a:gd name="T2" fmla="*/ 180 w 57"/>
                <a:gd name="T3" fmla="*/ 0 h 161"/>
                <a:gd name="T4" fmla="*/ 180 w 57"/>
                <a:gd name="T5" fmla="*/ 494 h 161"/>
                <a:gd name="T6" fmla="*/ 0 w 57"/>
                <a:gd name="T7" fmla="*/ 494 h 161"/>
                <a:gd name="T8" fmla="*/ 0 w 57"/>
                <a:gd name="T9" fmla="*/ 0 h 1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161"/>
                <a:gd name="T17" fmla="*/ 57 w 57"/>
                <a:gd name="T18" fmla="*/ 161 h 1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161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54"/>
                    <a:pt x="57" y="107"/>
                    <a:pt x="57" y="161"/>
                  </a:cubicBezTo>
                  <a:cubicBezTo>
                    <a:pt x="38" y="161"/>
                    <a:pt x="19" y="161"/>
                    <a:pt x="0" y="161"/>
                  </a:cubicBezTo>
                  <a:cubicBezTo>
                    <a:pt x="0" y="108"/>
                    <a:pt x="0" y="54"/>
                    <a:pt x="0" y="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20" name="Freeform 81"/>
            <p:cNvSpPr>
              <a:spLocks/>
            </p:cNvSpPr>
            <p:nvPr/>
          </p:nvSpPr>
          <p:spPr bwMode="auto">
            <a:xfrm>
              <a:off x="5160" y="1043"/>
              <a:ext cx="69" cy="194"/>
            </a:xfrm>
            <a:custGeom>
              <a:avLst/>
              <a:gdLst>
                <a:gd name="T0" fmla="*/ 0 w 57"/>
                <a:gd name="T1" fmla="*/ 0 h 161"/>
                <a:gd name="T2" fmla="*/ 180 w 57"/>
                <a:gd name="T3" fmla="*/ 0 h 161"/>
                <a:gd name="T4" fmla="*/ 180 w 57"/>
                <a:gd name="T5" fmla="*/ 494 h 161"/>
                <a:gd name="T6" fmla="*/ 0 w 57"/>
                <a:gd name="T7" fmla="*/ 494 h 161"/>
                <a:gd name="T8" fmla="*/ 0 w 57"/>
                <a:gd name="T9" fmla="*/ 0 h 1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161"/>
                <a:gd name="T17" fmla="*/ 57 w 57"/>
                <a:gd name="T18" fmla="*/ 161 h 1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161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54"/>
                    <a:pt x="57" y="108"/>
                    <a:pt x="57" y="161"/>
                  </a:cubicBezTo>
                  <a:cubicBezTo>
                    <a:pt x="38" y="161"/>
                    <a:pt x="19" y="161"/>
                    <a:pt x="0" y="161"/>
                  </a:cubicBezTo>
                  <a:cubicBezTo>
                    <a:pt x="0" y="108"/>
                    <a:pt x="0" y="54"/>
                    <a:pt x="0" y="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21" name="Freeform 82"/>
            <p:cNvSpPr>
              <a:spLocks/>
            </p:cNvSpPr>
            <p:nvPr/>
          </p:nvSpPr>
          <p:spPr bwMode="auto">
            <a:xfrm>
              <a:off x="4735" y="1106"/>
              <a:ext cx="69" cy="131"/>
            </a:xfrm>
            <a:custGeom>
              <a:avLst/>
              <a:gdLst>
                <a:gd name="T0" fmla="*/ 165 w 58"/>
                <a:gd name="T1" fmla="*/ 328 h 109"/>
                <a:gd name="T2" fmla="*/ 0 w 58"/>
                <a:gd name="T3" fmla="*/ 328 h 109"/>
                <a:gd name="T4" fmla="*/ 0 w 58"/>
                <a:gd name="T5" fmla="*/ 0 h 109"/>
                <a:gd name="T6" fmla="*/ 165 w 58"/>
                <a:gd name="T7" fmla="*/ 0 h 109"/>
                <a:gd name="T8" fmla="*/ 165 w 58"/>
                <a:gd name="T9" fmla="*/ 328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09"/>
                <a:gd name="T17" fmla="*/ 58 w 58"/>
                <a:gd name="T18" fmla="*/ 109 h 10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09">
                  <a:moveTo>
                    <a:pt x="58" y="109"/>
                  </a:moveTo>
                  <a:cubicBezTo>
                    <a:pt x="39" y="109"/>
                    <a:pt x="20" y="109"/>
                    <a:pt x="0" y="109"/>
                  </a:cubicBezTo>
                  <a:cubicBezTo>
                    <a:pt x="0" y="73"/>
                    <a:pt x="0" y="37"/>
                    <a:pt x="0" y="0"/>
                  </a:cubicBezTo>
                  <a:cubicBezTo>
                    <a:pt x="20" y="0"/>
                    <a:pt x="39" y="0"/>
                    <a:pt x="58" y="0"/>
                  </a:cubicBezTo>
                  <a:cubicBezTo>
                    <a:pt x="58" y="37"/>
                    <a:pt x="58" y="73"/>
                    <a:pt x="58" y="109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22" name="Freeform 83"/>
            <p:cNvSpPr>
              <a:spLocks/>
            </p:cNvSpPr>
            <p:nvPr/>
          </p:nvSpPr>
          <p:spPr bwMode="auto">
            <a:xfrm>
              <a:off x="5027" y="1106"/>
              <a:ext cx="69" cy="132"/>
            </a:xfrm>
            <a:custGeom>
              <a:avLst/>
              <a:gdLst>
                <a:gd name="T0" fmla="*/ 165 w 58"/>
                <a:gd name="T1" fmla="*/ 329 h 110"/>
                <a:gd name="T2" fmla="*/ 0 w 58"/>
                <a:gd name="T3" fmla="*/ 329 h 110"/>
                <a:gd name="T4" fmla="*/ 0 w 58"/>
                <a:gd name="T5" fmla="*/ 0 h 110"/>
                <a:gd name="T6" fmla="*/ 165 w 58"/>
                <a:gd name="T7" fmla="*/ 0 h 110"/>
                <a:gd name="T8" fmla="*/ 165 w 58"/>
                <a:gd name="T9" fmla="*/ 329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10"/>
                <a:gd name="T17" fmla="*/ 58 w 58"/>
                <a:gd name="T18" fmla="*/ 110 h 1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10">
                  <a:moveTo>
                    <a:pt x="58" y="110"/>
                  </a:moveTo>
                  <a:cubicBezTo>
                    <a:pt x="39" y="110"/>
                    <a:pt x="20" y="110"/>
                    <a:pt x="0" y="110"/>
                  </a:cubicBezTo>
                  <a:cubicBezTo>
                    <a:pt x="0" y="73"/>
                    <a:pt x="0" y="37"/>
                    <a:pt x="0" y="0"/>
                  </a:cubicBezTo>
                  <a:cubicBezTo>
                    <a:pt x="20" y="0"/>
                    <a:pt x="39" y="0"/>
                    <a:pt x="58" y="0"/>
                  </a:cubicBezTo>
                  <a:cubicBezTo>
                    <a:pt x="58" y="37"/>
                    <a:pt x="58" y="73"/>
                    <a:pt x="58" y="11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23" name="Freeform 84"/>
            <p:cNvSpPr>
              <a:spLocks/>
            </p:cNvSpPr>
            <p:nvPr/>
          </p:nvSpPr>
          <p:spPr bwMode="auto">
            <a:xfrm>
              <a:off x="5183" y="901"/>
              <a:ext cx="77" cy="71"/>
            </a:xfrm>
            <a:custGeom>
              <a:avLst/>
              <a:gdLst>
                <a:gd name="T0" fmla="*/ 77 w 77"/>
                <a:gd name="T1" fmla="*/ 0 h 71"/>
                <a:gd name="T2" fmla="*/ 47 w 77"/>
                <a:gd name="T3" fmla="*/ 71 h 71"/>
                <a:gd name="T4" fmla="*/ 0 w 77"/>
                <a:gd name="T5" fmla="*/ 7 h 71"/>
                <a:gd name="T6" fmla="*/ 77 w 77"/>
                <a:gd name="T7" fmla="*/ 0 h 71"/>
                <a:gd name="T8" fmla="*/ 77 w 77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71"/>
                <a:gd name="T17" fmla="*/ 77 w 77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71">
                  <a:moveTo>
                    <a:pt x="77" y="0"/>
                  </a:moveTo>
                  <a:lnTo>
                    <a:pt x="47" y="71"/>
                  </a:lnTo>
                  <a:lnTo>
                    <a:pt x="0" y="7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696987" y="1988929"/>
            <a:ext cx="1716086" cy="54597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marL="216000" indent="-216000">
              <a:buAutoNum type="arabicPeriod"/>
            </a:pPr>
            <a:r>
              <a:rPr lang="ru-RU" b="1" dirty="0">
                <a:solidFill>
                  <a:srgbClr val="14AA96"/>
                </a:solidFill>
              </a:rPr>
              <a:t>Выпуск ЦБ</a:t>
            </a:r>
          </a:p>
          <a:p>
            <a:pPr marL="216000" indent="-216000">
              <a:buAutoNum type="arabicPeriod"/>
            </a:pPr>
            <a:r>
              <a:rPr lang="ru-RU" b="1" dirty="0">
                <a:solidFill>
                  <a:srgbClr val="14AA96"/>
                </a:solidFill>
              </a:rPr>
              <a:t>Выкуп ЦБ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436486" y="2681760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14AA96"/>
                </a:solidFill>
              </a:rPr>
              <a:t>Бирж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342703" y="2685409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14AA96"/>
                </a:solidFill>
              </a:rPr>
              <a:t>Инвесторы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64630" y="3348494"/>
            <a:ext cx="4483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F6BB42"/>
                </a:solidFill>
              </a:rPr>
              <a:t>Сторонние биржевые ценные бумаг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22839" y="4697490"/>
            <a:ext cx="1193341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F6BB42"/>
                </a:solidFill>
              </a:rPr>
              <a:t>Эмитент</a:t>
            </a:r>
          </a:p>
        </p:txBody>
      </p:sp>
      <p:sp>
        <p:nvSpPr>
          <p:cNvPr id="29" name="Freeform 100"/>
          <p:cNvSpPr>
            <a:spLocks noChangeAspect="1" noEditPoints="1"/>
          </p:cNvSpPr>
          <p:nvPr/>
        </p:nvSpPr>
        <p:spPr bwMode="auto">
          <a:xfrm>
            <a:off x="2970284" y="3840232"/>
            <a:ext cx="298450" cy="766763"/>
          </a:xfrm>
          <a:custGeom>
            <a:avLst/>
            <a:gdLst>
              <a:gd name="T0" fmla="*/ 2147483647 w 1850"/>
              <a:gd name="T1" fmla="*/ 2147483647 h 4763"/>
              <a:gd name="T2" fmla="*/ 0 w 1850"/>
              <a:gd name="T3" fmla="*/ 2147483647 h 4763"/>
              <a:gd name="T4" fmla="*/ 2147483647 w 1850"/>
              <a:gd name="T5" fmla="*/ 2147483647 h 4763"/>
              <a:gd name="T6" fmla="*/ 2147483647 w 1850"/>
              <a:gd name="T7" fmla="*/ 2147483647 h 4763"/>
              <a:gd name="T8" fmla="*/ 2147483647 w 1850"/>
              <a:gd name="T9" fmla="*/ 2147483647 h 4763"/>
              <a:gd name="T10" fmla="*/ 2147483647 w 1850"/>
              <a:gd name="T11" fmla="*/ 2147483647 h 4763"/>
              <a:gd name="T12" fmla="*/ 2147483647 w 1850"/>
              <a:gd name="T13" fmla="*/ 2147483647 h 4763"/>
              <a:gd name="T14" fmla="*/ 2147483647 w 1850"/>
              <a:gd name="T15" fmla="*/ 2147483647 h 4763"/>
              <a:gd name="T16" fmla="*/ 2147483647 w 1850"/>
              <a:gd name="T17" fmla="*/ 2147483647 h 4763"/>
              <a:gd name="T18" fmla="*/ 2147483647 w 1850"/>
              <a:gd name="T19" fmla="*/ 2147483647 h 4763"/>
              <a:gd name="T20" fmla="*/ 2147483647 w 1850"/>
              <a:gd name="T21" fmla="*/ 2147483647 h 4763"/>
              <a:gd name="T22" fmla="*/ 2147483647 w 1850"/>
              <a:gd name="T23" fmla="*/ 2147483647 h 4763"/>
              <a:gd name="T24" fmla="*/ 2147483647 w 1850"/>
              <a:gd name="T25" fmla="*/ 2147483647 h 4763"/>
              <a:gd name="T26" fmla="*/ 2147483647 w 1850"/>
              <a:gd name="T27" fmla="*/ 2147483647 h 4763"/>
              <a:gd name="T28" fmla="*/ 2147483647 w 1850"/>
              <a:gd name="T29" fmla="*/ 2147483647 h 4763"/>
              <a:gd name="T30" fmla="*/ 2147483647 w 1850"/>
              <a:gd name="T31" fmla="*/ 2147483647 h 4763"/>
              <a:gd name="T32" fmla="*/ 2147483647 w 1850"/>
              <a:gd name="T33" fmla="*/ 2147483647 h 4763"/>
              <a:gd name="T34" fmla="*/ 2147483647 w 1850"/>
              <a:gd name="T35" fmla="*/ 2147483647 h 4763"/>
              <a:gd name="T36" fmla="*/ 2147483647 w 1850"/>
              <a:gd name="T37" fmla="*/ 2147483647 h 4763"/>
              <a:gd name="T38" fmla="*/ 2147483647 w 1850"/>
              <a:gd name="T39" fmla="*/ 2147483647 h 4763"/>
              <a:gd name="T40" fmla="*/ 2147483647 w 1850"/>
              <a:gd name="T41" fmla="*/ 2147483647 h 4763"/>
              <a:gd name="T42" fmla="*/ 2147483647 w 1850"/>
              <a:gd name="T43" fmla="*/ 2147483647 h 4763"/>
              <a:gd name="T44" fmla="*/ 2147483647 w 1850"/>
              <a:gd name="T45" fmla="*/ 2147483647 h 4763"/>
              <a:gd name="T46" fmla="*/ 2147483647 w 1850"/>
              <a:gd name="T47" fmla="*/ 2147483647 h 4763"/>
              <a:gd name="T48" fmla="*/ 2147483647 w 1850"/>
              <a:gd name="T49" fmla="*/ 2147483647 h 4763"/>
              <a:gd name="T50" fmla="*/ 2147483647 w 1850"/>
              <a:gd name="T51" fmla="*/ 2147483647 h 4763"/>
              <a:gd name="T52" fmla="*/ 2147483647 w 1850"/>
              <a:gd name="T53" fmla="*/ 2147483647 h 4763"/>
              <a:gd name="T54" fmla="*/ 2147483647 w 1850"/>
              <a:gd name="T55" fmla="*/ 2147483647 h 4763"/>
              <a:gd name="T56" fmla="*/ 2147483647 w 1850"/>
              <a:gd name="T57" fmla="*/ 2147483647 h 4763"/>
              <a:gd name="T58" fmla="*/ 2147483647 w 1850"/>
              <a:gd name="T59" fmla="*/ 2147483647 h 4763"/>
              <a:gd name="T60" fmla="*/ 2147483647 w 1850"/>
              <a:gd name="T61" fmla="*/ 2147483647 h 4763"/>
              <a:gd name="T62" fmla="*/ 2147483647 w 1850"/>
              <a:gd name="T63" fmla="*/ 2147483647 h 4763"/>
              <a:gd name="T64" fmla="*/ 2147483647 w 1850"/>
              <a:gd name="T65" fmla="*/ 2147483647 h 4763"/>
              <a:gd name="T66" fmla="*/ 2147483647 w 1850"/>
              <a:gd name="T67" fmla="*/ 2147483647 h 4763"/>
              <a:gd name="T68" fmla="*/ 2147483647 w 1850"/>
              <a:gd name="T69" fmla="*/ 2147483647 h 4763"/>
              <a:gd name="T70" fmla="*/ 2147483647 w 1850"/>
              <a:gd name="T71" fmla="*/ 2147483647 h 4763"/>
              <a:gd name="T72" fmla="*/ 2147483647 w 1850"/>
              <a:gd name="T73" fmla="*/ 2147483647 h 4763"/>
              <a:gd name="T74" fmla="*/ 2147483647 w 1850"/>
              <a:gd name="T75" fmla="*/ 2147483647 h 4763"/>
              <a:gd name="T76" fmla="*/ 2147483647 w 1850"/>
              <a:gd name="T77" fmla="*/ 2147483647 h 4763"/>
              <a:gd name="T78" fmla="*/ 2147483647 w 1850"/>
              <a:gd name="T79" fmla="*/ 2147483647 h 4763"/>
              <a:gd name="T80" fmla="*/ 2147483647 w 1850"/>
              <a:gd name="T81" fmla="*/ 2147483647 h 4763"/>
              <a:gd name="T82" fmla="*/ 2147483647 w 1850"/>
              <a:gd name="T83" fmla="*/ 2147483647 h 4763"/>
              <a:gd name="T84" fmla="*/ 2147483647 w 1850"/>
              <a:gd name="T85" fmla="*/ 2147483647 h 4763"/>
              <a:gd name="T86" fmla="*/ 2147483647 w 1850"/>
              <a:gd name="T87" fmla="*/ 2147483647 h 4763"/>
              <a:gd name="T88" fmla="*/ 2147483647 w 1850"/>
              <a:gd name="T89" fmla="*/ 2147483647 h 4763"/>
              <a:gd name="T90" fmla="*/ 2147483647 w 1850"/>
              <a:gd name="T91" fmla="*/ 2147483647 h 4763"/>
              <a:gd name="T92" fmla="*/ 2147483647 w 1850"/>
              <a:gd name="T93" fmla="*/ 2147483647 h 4763"/>
              <a:gd name="T94" fmla="*/ 2147483647 w 1850"/>
              <a:gd name="T95" fmla="*/ 2147483647 h 4763"/>
              <a:gd name="T96" fmla="*/ 2147483647 w 1850"/>
              <a:gd name="T97" fmla="*/ 2147483647 h 4763"/>
              <a:gd name="T98" fmla="*/ 2147483647 w 1850"/>
              <a:gd name="T99" fmla="*/ 2147483647 h 4763"/>
              <a:gd name="T100" fmla="*/ 2147483647 w 1850"/>
              <a:gd name="T101" fmla="*/ 2147483647 h 4763"/>
              <a:gd name="T102" fmla="*/ 2147483647 w 1850"/>
              <a:gd name="T103" fmla="*/ 2147483647 h 4763"/>
              <a:gd name="T104" fmla="*/ 2147483647 w 1850"/>
              <a:gd name="T105" fmla="*/ 2147483647 h 4763"/>
              <a:gd name="T106" fmla="*/ 2147483647 w 1850"/>
              <a:gd name="T107" fmla="*/ 2147483647 h 4763"/>
              <a:gd name="T108" fmla="*/ 2147483647 w 1850"/>
              <a:gd name="T109" fmla="*/ 2147483647 h 4763"/>
              <a:gd name="T110" fmla="*/ 2147483647 w 1850"/>
              <a:gd name="T111" fmla="*/ 2147483647 h 4763"/>
              <a:gd name="T112" fmla="*/ 2147483647 w 1850"/>
              <a:gd name="T113" fmla="*/ 2147483647 h 4763"/>
              <a:gd name="T114" fmla="*/ 2147483647 w 1850"/>
              <a:gd name="T115" fmla="*/ 2147483647 h 4763"/>
              <a:gd name="T116" fmla="*/ 2147483647 w 1850"/>
              <a:gd name="T117" fmla="*/ 2147483647 h 4763"/>
              <a:gd name="T118" fmla="*/ 2147483647 w 185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50"/>
              <a:gd name="T181" fmla="*/ 0 h 4763"/>
              <a:gd name="T182" fmla="*/ 1850 w 185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50" h="4763">
                <a:moveTo>
                  <a:pt x="352" y="3267"/>
                </a:moveTo>
                <a:lnTo>
                  <a:pt x="153" y="3107"/>
                </a:lnTo>
                <a:lnTo>
                  <a:pt x="70" y="2776"/>
                </a:lnTo>
                <a:lnTo>
                  <a:pt x="123" y="2776"/>
                </a:lnTo>
                <a:lnTo>
                  <a:pt x="200" y="3077"/>
                </a:lnTo>
                <a:lnTo>
                  <a:pt x="348" y="3198"/>
                </a:lnTo>
                <a:lnTo>
                  <a:pt x="326" y="2724"/>
                </a:lnTo>
                <a:lnTo>
                  <a:pt x="271" y="2724"/>
                </a:lnTo>
                <a:lnTo>
                  <a:pt x="110" y="2724"/>
                </a:lnTo>
                <a:lnTo>
                  <a:pt x="57" y="2724"/>
                </a:lnTo>
                <a:lnTo>
                  <a:pt x="0" y="2724"/>
                </a:lnTo>
                <a:lnTo>
                  <a:pt x="0" y="1160"/>
                </a:lnTo>
                <a:lnTo>
                  <a:pt x="0" y="1139"/>
                </a:lnTo>
                <a:lnTo>
                  <a:pt x="4" y="1121"/>
                </a:lnTo>
                <a:lnTo>
                  <a:pt x="9" y="1103"/>
                </a:lnTo>
                <a:lnTo>
                  <a:pt x="16" y="1087"/>
                </a:lnTo>
                <a:lnTo>
                  <a:pt x="23" y="1073"/>
                </a:lnTo>
                <a:lnTo>
                  <a:pt x="34" y="1059"/>
                </a:lnTo>
                <a:lnTo>
                  <a:pt x="45" y="1047"/>
                </a:lnTo>
                <a:lnTo>
                  <a:pt x="57" y="1035"/>
                </a:lnTo>
                <a:lnTo>
                  <a:pt x="71" y="1025"/>
                </a:lnTo>
                <a:lnTo>
                  <a:pt x="87" y="1016"/>
                </a:lnTo>
                <a:lnTo>
                  <a:pt x="103" y="1007"/>
                </a:lnTo>
                <a:lnTo>
                  <a:pt x="121" y="998"/>
                </a:lnTo>
                <a:lnTo>
                  <a:pt x="157" y="982"/>
                </a:lnTo>
                <a:lnTo>
                  <a:pt x="196" y="968"/>
                </a:lnTo>
                <a:lnTo>
                  <a:pt x="592" y="823"/>
                </a:lnTo>
                <a:lnTo>
                  <a:pt x="719" y="1576"/>
                </a:lnTo>
                <a:lnTo>
                  <a:pt x="780" y="1033"/>
                </a:lnTo>
                <a:lnTo>
                  <a:pt x="766" y="1025"/>
                </a:lnTo>
                <a:lnTo>
                  <a:pt x="753" y="1016"/>
                </a:lnTo>
                <a:lnTo>
                  <a:pt x="741" y="1004"/>
                </a:lnTo>
                <a:lnTo>
                  <a:pt x="732" y="991"/>
                </a:lnTo>
                <a:lnTo>
                  <a:pt x="831" y="898"/>
                </a:lnTo>
                <a:lnTo>
                  <a:pt x="930" y="991"/>
                </a:lnTo>
                <a:lnTo>
                  <a:pt x="920" y="1004"/>
                </a:lnTo>
                <a:lnTo>
                  <a:pt x="909" y="1016"/>
                </a:lnTo>
                <a:lnTo>
                  <a:pt x="897" y="1025"/>
                </a:lnTo>
                <a:lnTo>
                  <a:pt x="883" y="1033"/>
                </a:lnTo>
                <a:lnTo>
                  <a:pt x="943" y="1576"/>
                </a:lnTo>
                <a:lnTo>
                  <a:pt x="1070" y="823"/>
                </a:lnTo>
                <a:lnTo>
                  <a:pt x="1466" y="968"/>
                </a:lnTo>
                <a:lnTo>
                  <a:pt x="1505" y="982"/>
                </a:lnTo>
                <a:lnTo>
                  <a:pt x="1540" y="998"/>
                </a:lnTo>
                <a:lnTo>
                  <a:pt x="1555" y="1007"/>
                </a:lnTo>
                <a:lnTo>
                  <a:pt x="1571" y="1016"/>
                </a:lnTo>
                <a:lnTo>
                  <a:pt x="1584" y="1025"/>
                </a:lnTo>
                <a:lnTo>
                  <a:pt x="1597" y="1037"/>
                </a:lnTo>
                <a:lnTo>
                  <a:pt x="1610" y="1047"/>
                </a:lnTo>
                <a:lnTo>
                  <a:pt x="1620" y="1060"/>
                </a:lnTo>
                <a:lnTo>
                  <a:pt x="1631" y="1073"/>
                </a:lnTo>
                <a:lnTo>
                  <a:pt x="1638" y="1087"/>
                </a:lnTo>
                <a:lnTo>
                  <a:pt x="1646" y="1104"/>
                </a:lnTo>
                <a:lnTo>
                  <a:pt x="1653" y="1121"/>
                </a:lnTo>
                <a:lnTo>
                  <a:pt x="1658" y="1139"/>
                </a:lnTo>
                <a:lnTo>
                  <a:pt x="1663" y="1160"/>
                </a:lnTo>
                <a:lnTo>
                  <a:pt x="1842" y="2208"/>
                </a:lnTo>
                <a:lnTo>
                  <a:pt x="1422" y="2208"/>
                </a:lnTo>
                <a:lnTo>
                  <a:pt x="1449" y="2260"/>
                </a:lnTo>
                <a:lnTo>
                  <a:pt x="1850" y="2260"/>
                </a:lnTo>
                <a:lnTo>
                  <a:pt x="1850" y="2321"/>
                </a:lnTo>
                <a:lnTo>
                  <a:pt x="1733" y="2321"/>
                </a:lnTo>
                <a:lnTo>
                  <a:pt x="1422" y="2321"/>
                </a:lnTo>
                <a:lnTo>
                  <a:pt x="1340" y="2163"/>
                </a:lnTo>
                <a:lnTo>
                  <a:pt x="1333" y="2154"/>
                </a:lnTo>
                <a:lnTo>
                  <a:pt x="1328" y="2144"/>
                </a:lnTo>
                <a:lnTo>
                  <a:pt x="1322" y="2137"/>
                </a:lnTo>
                <a:lnTo>
                  <a:pt x="1315" y="2130"/>
                </a:lnTo>
                <a:lnTo>
                  <a:pt x="1301" y="2118"/>
                </a:lnTo>
                <a:lnTo>
                  <a:pt x="1287" y="2111"/>
                </a:lnTo>
                <a:lnTo>
                  <a:pt x="1272" y="2105"/>
                </a:lnTo>
                <a:lnTo>
                  <a:pt x="1258" y="2103"/>
                </a:lnTo>
                <a:lnTo>
                  <a:pt x="1244" y="2102"/>
                </a:lnTo>
                <a:lnTo>
                  <a:pt x="1229" y="2104"/>
                </a:lnTo>
                <a:lnTo>
                  <a:pt x="1215" y="2107"/>
                </a:lnTo>
                <a:lnTo>
                  <a:pt x="1203" y="2111"/>
                </a:lnTo>
                <a:lnTo>
                  <a:pt x="1192" y="2116"/>
                </a:lnTo>
                <a:lnTo>
                  <a:pt x="1183" y="2122"/>
                </a:lnTo>
                <a:lnTo>
                  <a:pt x="1174" y="2129"/>
                </a:lnTo>
                <a:lnTo>
                  <a:pt x="1168" y="2135"/>
                </a:lnTo>
                <a:lnTo>
                  <a:pt x="1165" y="2141"/>
                </a:lnTo>
                <a:lnTo>
                  <a:pt x="1162" y="2147"/>
                </a:lnTo>
                <a:lnTo>
                  <a:pt x="1157" y="2387"/>
                </a:lnTo>
                <a:lnTo>
                  <a:pt x="1157" y="2402"/>
                </a:lnTo>
                <a:lnTo>
                  <a:pt x="1159" y="2415"/>
                </a:lnTo>
                <a:lnTo>
                  <a:pt x="1162" y="2428"/>
                </a:lnTo>
                <a:lnTo>
                  <a:pt x="1166" y="2439"/>
                </a:lnTo>
                <a:lnTo>
                  <a:pt x="1171" y="2450"/>
                </a:lnTo>
                <a:lnTo>
                  <a:pt x="1176" y="2460"/>
                </a:lnTo>
                <a:lnTo>
                  <a:pt x="1184" y="2469"/>
                </a:lnTo>
                <a:lnTo>
                  <a:pt x="1192" y="2478"/>
                </a:lnTo>
                <a:lnTo>
                  <a:pt x="1200" y="2486"/>
                </a:lnTo>
                <a:lnTo>
                  <a:pt x="1210" y="2494"/>
                </a:lnTo>
                <a:lnTo>
                  <a:pt x="1220" y="2500"/>
                </a:lnTo>
                <a:lnTo>
                  <a:pt x="1231" y="2506"/>
                </a:lnTo>
                <a:lnTo>
                  <a:pt x="1242" y="2511"/>
                </a:lnTo>
                <a:lnTo>
                  <a:pt x="1254" y="2516"/>
                </a:lnTo>
                <a:lnTo>
                  <a:pt x="1279" y="2522"/>
                </a:lnTo>
                <a:lnTo>
                  <a:pt x="1305" y="2526"/>
                </a:lnTo>
                <a:lnTo>
                  <a:pt x="1332" y="2528"/>
                </a:lnTo>
                <a:lnTo>
                  <a:pt x="1359" y="2526"/>
                </a:lnTo>
                <a:lnTo>
                  <a:pt x="1385" y="2522"/>
                </a:lnTo>
                <a:lnTo>
                  <a:pt x="1411" y="2515"/>
                </a:lnTo>
                <a:lnTo>
                  <a:pt x="1437" y="2506"/>
                </a:lnTo>
                <a:lnTo>
                  <a:pt x="1459" y="2495"/>
                </a:lnTo>
                <a:lnTo>
                  <a:pt x="1471" y="2489"/>
                </a:lnTo>
                <a:lnTo>
                  <a:pt x="1480" y="2481"/>
                </a:lnTo>
                <a:lnTo>
                  <a:pt x="1620" y="2373"/>
                </a:lnTo>
                <a:lnTo>
                  <a:pt x="1705" y="2373"/>
                </a:lnTo>
                <a:lnTo>
                  <a:pt x="1512" y="2522"/>
                </a:lnTo>
                <a:lnTo>
                  <a:pt x="1498" y="2532"/>
                </a:lnTo>
                <a:lnTo>
                  <a:pt x="1483" y="2541"/>
                </a:lnTo>
                <a:lnTo>
                  <a:pt x="1464" y="2548"/>
                </a:lnTo>
                <a:lnTo>
                  <a:pt x="1446" y="2556"/>
                </a:lnTo>
                <a:lnTo>
                  <a:pt x="1345" y="4763"/>
                </a:lnTo>
                <a:lnTo>
                  <a:pt x="909" y="4763"/>
                </a:lnTo>
                <a:lnTo>
                  <a:pt x="909" y="2771"/>
                </a:lnTo>
                <a:lnTo>
                  <a:pt x="857" y="2771"/>
                </a:lnTo>
                <a:lnTo>
                  <a:pt x="857" y="4763"/>
                </a:lnTo>
                <a:lnTo>
                  <a:pt x="421" y="4763"/>
                </a:lnTo>
                <a:lnTo>
                  <a:pt x="352" y="3267"/>
                </a:lnTo>
                <a:close/>
                <a:moveTo>
                  <a:pt x="1106" y="2321"/>
                </a:moveTo>
                <a:lnTo>
                  <a:pt x="645" y="2321"/>
                </a:lnTo>
                <a:lnTo>
                  <a:pt x="645" y="2372"/>
                </a:lnTo>
                <a:lnTo>
                  <a:pt x="1105" y="2372"/>
                </a:lnTo>
                <a:lnTo>
                  <a:pt x="1106" y="2321"/>
                </a:lnTo>
                <a:close/>
                <a:moveTo>
                  <a:pt x="1109" y="2208"/>
                </a:moveTo>
                <a:lnTo>
                  <a:pt x="645" y="2208"/>
                </a:lnTo>
                <a:lnTo>
                  <a:pt x="645" y="2260"/>
                </a:lnTo>
                <a:lnTo>
                  <a:pt x="1107" y="2260"/>
                </a:lnTo>
                <a:lnTo>
                  <a:pt x="1109" y="2208"/>
                </a:lnTo>
                <a:close/>
                <a:moveTo>
                  <a:pt x="1393" y="2152"/>
                </a:moveTo>
                <a:lnTo>
                  <a:pt x="1773" y="2152"/>
                </a:lnTo>
                <a:lnTo>
                  <a:pt x="1606" y="1820"/>
                </a:lnTo>
                <a:lnTo>
                  <a:pt x="660" y="1820"/>
                </a:lnTo>
                <a:lnTo>
                  <a:pt x="640" y="2152"/>
                </a:lnTo>
                <a:lnTo>
                  <a:pt x="1110" y="2152"/>
                </a:lnTo>
                <a:lnTo>
                  <a:pt x="1110" y="2146"/>
                </a:lnTo>
                <a:lnTo>
                  <a:pt x="1111" y="2134"/>
                </a:lnTo>
                <a:lnTo>
                  <a:pt x="1114" y="2124"/>
                </a:lnTo>
                <a:lnTo>
                  <a:pt x="1116" y="2115"/>
                </a:lnTo>
                <a:lnTo>
                  <a:pt x="1120" y="2105"/>
                </a:lnTo>
                <a:lnTo>
                  <a:pt x="1126" y="2096"/>
                </a:lnTo>
                <a:lnTo>
                  <a:pt x="1132" y="2089"/>
                </a:lnTo>
                <a:lnTo>
                  <a:pt x="1139" y="2082"/>
                </a:lnTo>
                <a:lnTo>
                  <a:pt x="1146" y="2076"/>
                </a:lnTo>
                <a:lnTo>
                  <a:pt x="1154" y="2070"/>
                </a:lnTo>
                <a:lnTo>
                  <a:pt x="1163" y="2065"/>
                </a:lnTo>
                <a:lnTo>
                  <a:pt x="1172" y="2061"/>
                </a:lnTo>
                <a:lnTo>
                  <a:pt x="1183" y="2059"/>
                </a:lnTo>
                <a:lnTo>
                  <a:pt x="1203" y="2054"/>
                </a:lnTo>
                <a:lnTo>
                  <a:pt x="1226" y="2052"/>
                </a:lnTo>
                <a:lnTo>
                  <a:pt x="1249" y="2054"/>
                </a:lnTo>
                <a:lnTo>
                  <a:pt x="1271" y="2057"/>
                </a:lnTo>
                <a:lnTo>
                  <a:pt x="1294" y="2064"/>
                </a:lnTo>
                <a:lnTo>
                  <a:pt x="1316" y="2073"/>
                </a:lnTo>
                <a:lnTo>
                  <a:pt x="1327" y="2078"/>
                </a:lnTo>
                <a:lnTo>
                  <a:pt x="1337" y="2085"/>
                </a:lnTo>
                <a:lnTo>
                  <a:pt x="1346" y="2092"/>
                </a:lnTo>
                <a:lnTo>
                  <a:pt x="1355" y="2100"/>
                </a:lnTo>
                <a:lnTo>
                  <a:pt x="1364" y="2108"/>
                </a:lnTo>
                <a:lnTo>
                  <a:pt x="1372" y="2117"/>
                </a:lnTo>
                <a:lnTo>
                  <a:pt x="1379" y="2128"/>
                </a:lnTo>
                <a:lnTo>
                  <a:pt x="1385" y="2138"/>
                </a:lnTo>
                <a:lnTo>
                  <a:pt x="1393" y="2152"/>
                </a:lnTo>
                <a:close/>
                <a:moveTo>
                  <a:pt x="1114" y="504"/>
                </a:moveTo>
                <a:lnTo>
                  <a:pt x="1114" y="504"/>
                </a:lnTo>
                <a:lnTo>
                  <a:pt x="1109" y="531"/>
                </a:lnTo>
                <a:lnTo>
                  <a:pt x="1102" y="557"/>
                </a:lnTo>
                <a:lnTo>
                  <a:pt x="1093" y="583"/>
                </a:lnTo>
                <a:lnTo>
                  <a:pt x="1081" y="607"/>
                </a:lnTo>
                <a:lnTo>
                  <a:pt x="1068" y="630"/>
                </a:lnTo>
                <a:lnTo>
                  <a:pt x="1054" y="651"/>
                </a:lnTo>
                <a:lnTo>
                  <a:pt x="1039" y="672"/>
                </a:lnTo>
                <a:lnTo>
                  <a:pt x="1022" y="690"/>
                </a:lnTo>
                <a:lnTo>
                  <a:pt x="1002" y="707"/>
                </a:lnTo>
                <a:lnTo>
                  <a:pt x="981" y="721"/>
                </a:lnTo>
                <a:lnTo>
                  <a:pt x="961" y="734"/>
                </a:lnTo>
                <a:lnTo>
                  <a:pt x="939" y="746"/>
                </a:lnTo>
                <a:lnTo>
                  <a:pt x="914" y="755"/>
                </a:lnTo>
                <a:lnTo>
                  <a:pt x="889" y="760"/>
                </a:lnTo>
                <a:lnTo>
                  <a:pt x="865" y="764"/>
                </a:lnTo>
                <a:lnTo>
                  <a:pt x="839" y="765"/>
                </a:lnTo>
                <a:lnTo>
                  <a:pt x="813" y="764"/>
                </a:lnTo>
                <a:lnTo>
                  <a:pt x="787" y="760"/>
                </a:lnTo>
                <a:lnTo>
                  <a:pt x="762" y="753"/>
                </a:lnTo>
                <a:lnTo>
                  <a:pt x="739" y="746"/>
                </a:lnTo>
                <a:lnTo>
                  <a:pt x="715" y="734"/>
                </a:lnTo>
                <a:lnTo>
                  <a:pt x="695" y="721"/>
                </a:lnTo>
                <a:lnTo>
                  <a:pt x="674" y="707"/>
                </a:lnTo>
                <a:lnTo>
                  <a:pt x="656" y="690"/>
                </a:lnTo>
                <a:lnTo>
                  <a:pt x="637" y="670"/>
                </a:lnTo>
                <a:lnTo>
                  <a:pt x="622" y="651"/>
                </a:lnTo>
                <a:lnTo>
                  <a:pt x="608" y="629"/>
                </a:lnTo>
                <a:lnTo>
                  <a:pt x="595" y="607"/>
                </a:lnTo>
                <a:lnTo>
                  <a:pt x="584" y="582"/>
                </a:lnTo>
                <a:lnTo>
                  <a:pt x="575" y="557"/>
                </a:lnTo>
                <a:lnTo>
                  <a:pt x="567" y="530"/>
                </a:lnTo>
                <a:lnTo>
                  <a:pt x="563" y="503"/>
                </a:lnTo>
                <a:lnTo>
                  <a:pt x="557" y="492"/>
                </a:lnTo>
                <a:lnTo>
                  <a:pt x="552" y="479"/>
                </a:lnTo>
                <a:lnTo>
                  <a:pt x="547" y="468"/>
                </a:lnTo>
                <a:lnTo>
                  <a:pt x="543" y="455"/>
                </a:lnTo>
                <a:lnTo>
                  <a:pt x="540" y="442"/>
                </a:lnTo>
                <a:lnTo>
                  <a:pt x="537" y="427"/>
                </a:lnTo>
                <a:lnTo>
                  <a:pt x="536" y="413"/>
                </a:lnTo>
                <a:lnTo>
                  <a:pt x="536" y="397"/>
                </a:lnTo>
                <a:lnTo>
                  <a:pt x="536" y="179"/>
                </a:lnTo>
                <a:lnTo>
                  <a:pt x="537" y="168"/>
                </a:lnTo>
                <a:lnTo>
                  <a:pt x="540" y="156"/>
                </a:lnTo>
                <a:lnTo>
                  <a:pt x="544" y="143"/>
                </a:lnTo>
                <a:lnTo>
                  <a:pt x="549" y="131"/>
                </a:lnTo>
                <a:lnTo>
                  <a:pt x="557" y="119"/>
                </a:lnTo>
                <a:lnTo>
                  <a:pt x="566" y="109"/>
                </a:lnTo>
                <a:lnTo>
                  <a:pt x="575" y="97"/>
                </a:lnTo>
                <a:lnTo>
                  <a:pt x="587" y="87"/>
                </a:lnTo>
                <a:lnTo>
                  <a:pt x="598" y="77"/>
                </a:lnTo>
                <a:lnTo>
                  <a:pt x="613" y="68"/>
                </a:lnTo>
                <a:lnTo>
                  <a:pt x="626" y="58"/>
                </a:lnTo>
                <a:lnTo>
                  <a:pt x="641" y="49"/>
                </a:lnTo>
                <a:lnTo>
                  <a:pt x="657" y="42"/>
                </a:lnTo>
                <a:lnTo>
                  <a:pt x="672" y="34"/>
                </a:lnTo>
                <a:lnTo>
                  <a:pt x="689" y="27"/>
                </a:lnTo>
                <a:lnTo>
                  <a:pt x="708" y="21"/>
                </a:lnTo>
                <a:lnTo>
                  <a:pt x="724" y="16"/>
                </a:lnTo>
                <a:lnTo>
                  <a:pt x="743" y="10"/>
                </a:lnTo>
                <a:lnTo>
                  <a:pt x="759" y="6"/>
                </a:lnTo>
                <a:lnTo>
                  <a:pt x="778" y="4"/>
                </a:lnTo>
                <a:lnTo>
                  <a:pt x="796" y="1"/>
                </a:lnTo>
                <a:lnTo>
                  <a:pt x="813" y="0"/>
                </a:lnTo>
                <a:lnTo>
                  <a:pt x="831" y="0"/>
                </a:lnTo>
                <a:lnTo>
                  <a:pt x="848" y="1"/>
                </a:lnTo>
                <a:lnTo>
                  <a:pt x="865" y="3"/>
                </a:lnTo>
                <a:lnTo>
                  <a:pt x="880" y="5"/>
                </a:lnTo>
                <a:lnTo>
                  <a:pt x="896" y="9"/>
                </a:lnTo>
                <a:lnTo>
                  <a:pt x="910" y="16"/>
                </a:lnTo>
                <a:lnTo>
                  <a:pt x="924" y="22"/>
                </a:lnTo>
                <a:lnTo>
                  <a:pt x="937" y="30"/>
                </a:lnTo>
                <a:lnTo>
                  <a:pt x="949" y="39"/>
                </a:lnTo>
                <a:lnTo>
                  <a:pt x="959" y="49"/>
                </a:lnTo>
                <a:lnTo>
                  <a:pt x="971" y="45"/>
                </a:lnTo>
                <a:lnTo>
                  <a:pt x="983" y="42"/>
                </a:lnTo>
                <a:lnTo>
                  <a:pt x="993" y="39"/>
                </a:lnTo>
                <a:lnTo>
                  <a:pt x="1004" y="38"/>
                </a:lnTo>
                <a:lnTo>
                  <a:pt x="1014" y="38"/>
                </a:lnTo>
                <a:lnTo>
                  <a:pt x="1023" y="38"/>
                </a:lnTo>
                <a:lnTo>
                  <a:pt x="1032" y="39"/>
                </a:lnTo>
                <a:lnTo>
                  <a:pt x="1041" y="40"/>
                </a:lnTo>
                <a:lnTo>
                  <a:pt x="1049" y="43"/>
                </a:lnTo>
                <a:lnTo>
                  <a:pt x="1057" y="47"/>
                </a:lnTo>
                <a:lnTo>
                  <a:pt x="1065" y="51"/>
                </a:lnTo>
                <a:lnTo>
                  <a:pt x="1072" y="55"/>
                </a:lnTo>
                <a:lnTo>
                  <a:pt x="1085" y="66"/>
                </a:lnTo>
                <a:lnTo>
                  <a:pt x="1097" y="81"/>
                </a:lnTo>
                <a:lnTo>
                  <a:pt x="1107" y="97"/>
                </a:lnTo>
                <a:lnTo>
                  <a:pt x="1116" y="116"/>
                </a:lnTo>
                <a:lnTo>
                  <a:pt x="1124" y="135"/>
                </a:lnTo>
                <a:lnTo>
                  <a:pt x="1131" y="157"/>
                </a:lnTo>
                <a:lnTo>
                  <a:pt x="1135" y="181"/>
                </a:lnTo>
                <a:lnTo>
                  <a:pt x="1139" y="205"/>
                </a:lnTo>
                <a:lnTo>
                  <a:pt x="1140" y="230"/>
                </a:lnTo>
                <a:lnTo>
                  <a:pt x="1141" y="257"/>
                </a:lnTo>
                <a:lnTo>
                  <a:pt x="1141" y="397"/>
                </a:lnTo>
                <a:lnTo>
                  <a:pt x="1140" y="413"/>
                </a:lnTo>
                <a:lnTo>
                  <a:pt x="1139" y="427"/>
                </a:lnTo>
                <a:lnTo>
                  <a:pt x="1137" y="442"/>
                </a:lnTo>
                <a:lnTo>
                  <a:pt x="1133" y="455"/>
                </a:lnTo>
                <a:lnTo>
                  <a:pt x="1129" y="468"/>
                </a:lnTo>
                <a:lnTo>
                  <a:pt x="1126" y="481"/>
                </a:lnTo>
                <a:lnTo>
                  <a:pt x="1120" y="492"/>
                </a:lnTo>
                <a:lnTo>
                  <a:pt x="1114" y="504"/>
                </a:lnTo>
                <a:close/>
                <a:moveTo>
                  <a:pt x="619" y="313"/>
                </a:moveTo>
                <a:lnTo>
                  <a:pt x="619" y="313"/>
                </a:lnTo>
                <a:lnTo>
                  <a:pt x="615" y="329"/>
                </a:lnTo>
                <a:lnTo>
                  <a:pt x="613" y="346"/>
                </a:lnTo>
                <a:lnTo>
                  <a:pt x="611" y="362"/>
                </a:lnTo>
                <a:lnTo>
                  <a:pt x="611" y="379"/>
                </a:lnTo>
                <a:lnTo>
                  <a:pt x="611" y="455"/>
                </a:lnTo>
                <a:lnTo>
                  <a:pt x="611" y="471"/>
                </a:lnTo>
                <a:lnTo>
                  <a:pt x="613" y="488"/>
                </a:lnTo>
                <a:lnTo>
                  <a:pt x="615" y="505"/>
                </a:lnTo>
                <a:lnTo>
                  <a:pt x="619" y="522"/>
                </a:lnTo>
                <a:lnTo>
                  <a:pt x="623" y="538"/>
                </a:lnTo>
                <a:lnTo>
                  <a:pt x="628" y="553"/>
                </a:lnTo>
                <a:lnTo>
                  <a:pt x="635" y="569"/>
                </a:lnTo>
                <a:lnTo>
                  <a:pt x="641" y="583"/>
                </a:lnTo>
                <a:lnTo>
                  <a:pt x="649" y="597"/>
                </a:lnTo>
                <a:lnTo>
                  <a:pt x="657" y="610"/>
                </a:lnTo>
                <a:lnTo>
                  <a:pt x="667" y="625"/>
                </a:lnTo>
                <a:lnTo>
                  <a:pt x="676" y="636"/>
                </a:lnTo>
                <a:lnTo>
                  <a:pt x="688" y="648"/>
                </a:lnTo>
                <a:lnTo>
                  <a:pt x="698" y="659"/>
                </a:lnTo>
                <a:lnTo>
                  <a:pt x="711" y="669"/>
                </a:lnTo>
                <a:lnTo>
                  <a:pt x="723" y="678"/>
                </a:lnTo>
                <a:lnTo>
                  <a:pt x="736" y="686"/>
                </a:lnTo>
                <a:lnTo>
                  <a:pt x="750" y="694"/>
                </a:lnTo>
                <a:lnTo>
                  <a:pt x="763" y="699"/>
                </a:lnTo>
                <a:lnTo>
                  <a:pt x="778" y="704"/>
                </a:lnTo>
                <a:lnTo>
                  <a:pt x="793" y="708"/>
                </a:lnTo>
                <a:lnTo>
                  <a:pt x="808" y="712"/>
                </a:lnTo>
                <a:lnTo>
                  <a:pt x="823" y="713"/>
                </a:lnTo>
                <a:lnTo>
                  <a:pt x="839" y="713"/>
                </a:lnTo>
                <a:lnTo>
                  <a:pt x="854" y="713"/>
                </a:lnTo>
                <a:lnTo>
                  <a:pt x="869" y="712"/>
                </a:lnTo>
                <a:lnTo>
                  <a:pt x="884" y="708"/>
                </a:lnTo>
                <a:lnTo>
                  <a:pt x="898" y="704"/>
                </a:lnTo>
                <a:lnTo>
                  <a:pt x="913" y="699"/>
                </a:lnTo>
                <a:lnTo>
                  <a:pt x="927" y="694"/>
                </a:lnTo>
                <a:lnTo>
                  <a:pt x="940" y="686"/>
                </a:lnTo>
                <a:lnTo>
                  <a:pt x="953" y="678"/>
                </a:lnTo>
                <a:lnTo>
                  <a:pt x="966" y="669"/>
                </a:lnTo>
                <a:lnTo>
                  <a:pt x="978" y="660"/>
                </a:lnTo>
                <a:lnTo>
                  <a:pt x="988" y="648"/>
                </a:lnTo>
                <a:lnTo>
                  <a:pt x="1000" y="638"/>
                </a:lnTo>
                <a:lnTo>
                  <a:pt x="1009" y="625"/>
                </a:lnTo>
                <a:lnTo>
                  <a:pt x="1019" y="612"/>
                </a:lnTo>
                <a:lnTo>
                  <a:pt x="1027" y="599"/>
                </a:lnTo>
                <a:lnTo>
                  <a:pt x="1035" y="584"/>
                </a:lnTo>
                <a:lnTo>
                  <a:pt x="1042" y="569"/>
                </a:lnTo>
                <a:lnTo>
                  <a:pt x="1048" y="555"/>
                </a:lnTo>
                <a:lnTo>
                  <a:pt x="1053" y="539"/>
                </a:lnTo>
                <a:lnTo>
                  <a:pt x="1058" y="523"/>
                </a:lnTo>
                <a:lnTo>
                  <a:pt x="1061" y="507"/>
                </a:lnTo>
                <a:lnTo>
                  <a:pt x="1063" y="490"/>
                </a:lnTo>
                <a:lnTo>
                  <a:pt x="1065" y="471"/>
                </a:lnTo>
                <a:lnTo>
                  <a:pt x="1066" y="455"/>
                </a:lnTo>
                <a:lnTo>
                  <a:pt x="1066" y="379"/>
                </a:lnTo>
                <a:lnTo>
                  <a:pt x="1065" y="349"/>
                </a:lnTo>
                <a:lnTo>
                  <a:pt x="1059" y="320"/>
                </a:lnTo>
                <a:lnTo>
                  <a:pt x="1053" y="292"/>
                </a:lnTo>
                <a:lnTo>
                  <a:pt x="1042" y="266"/>
                </a:lnTo>
                <a:lnTo>
                  <a:pt x="1031" y="242"/>
                </a:lnTo>
                <a:lnTo>
                  <a:pt x="1017" y="218"/>
                </a:lnTo>
                <a:lnTo>
                  <a:pt x="1001" y="197"/>
                </a:lnTo>
                <a:lnTo>
                  <a:pt x="983" y="179"/>
                </a:lnTo>
                <a:lnTo>
                  <a:pt x="940" y="200"/>
                </a:lnTo>
                <a:lnTo>
                  <a:pt x="896" y="221"/>
                </a:lnTo>
                <a:lnTo>
                  <a:pt x="850" y="239"/>
                </a:lnTo>
                <a:lnTo>
                  <a:pt x="806" y="256"/>
                </a:lnTo>
                <a:lnTo>
                  <a:pt x="759" y="273"/>
                </a:lnTo>
                <a:lnTo>
                  <a:pt x="714" y="287"/>
                </a:lnTo>
                <a:lnTo>
                  <a:pt x="666" y="300"/>
                </a:lnTo>
                <a:lnTo>
                  <a:pt x="619" y="313"/>
                </a:lnTo>
                <a:close/>
              </a:path>
            </a:pathLst>
          </a:custGeom>
          <a:solidFill>
            <a:srgbClr val="F6BB4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6BB42"/>
              </a:solidFill>
              <a:latin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97653" y="4697490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F6BB42"/>
                </a:solidFill>
              </a:rPr>
              <a:t>Брокер</a:t>
            </a:r>
          </a:p>
        </p:txBody>
      </p:sp>
      <p:sp>
        <p:nvSpPr>
          <p:cNvPr id="31" name="Freeform 104"/>
          <p:cNvSpPr>
            <a:spLocks noChangeAspect="1" noEditPoints="1"/>
          </p:cNvSpPr>
          <p:nvPr/>
        </p:nvSpPr>
        <p:spPr bwMode="auto">
          <a:xfrm>
            <a:off x="4354006" y="3805324"/>
            <a:ext cx="358879" cy="810502"/>
          </a:xfrm>
          <a:custGeom>
            <a:avLst/>
            <a:gdLst>
              <a:gd name="T0" fmla="*/ 2147483647 w 2104"/>
              <a:gd name="T1" fmla="*/ 2147483647 h 4763"/>
              <a:gd name="T2" fmla="*/ 2147483647 w 2104"/>
              <a:gd name="T3" fmla="*/ 2147483647 h 4763"/>
              <a:gd name="T4" fmla="*/ 2147483647 w 2104"/>
              <a:gd name="T5" fmla="*/ 2147483647 h 4763"/>
              <a:gd name="T6" fmla="*/ 2147483647 w 2104"/>
              <a:gd name="T7" fmla="*/ 2147483647 h 4763"/>
              <a:gd name="T8" fmla="*/ 2147483647 w 2104"/>
              <a:gd name="T9" fmla="*/ 2147483647 h 4763"/>
              <a:gd name="T10" fmla="*/ 2147483647 w 2104"/>
              <a:gd name="T11" fmla="*/ 2147483647 h 4763"/>
              <a:gd name="T12" fmla="*/ 2147483647 w 2104"/>
              <a:gd name="T13" fmla="*/ 2147483647 h 4763"/>
              <a:gd name="T14" fmla="*/ 2147483647 w 2104"/>
              <a:gd name="T15" fmla="*/ 2147483647 h 4763"/>
              <a:gd name="T16" fmla="*/ 0 w 2104"/>
              <a:gd name="T17" fmla="*/ 2147483647 h 4763"/>
              <a:gd name="T18" fmla="*/ 2147483647 w 2104"/>
              <a:gd name="T19" fmla="*/ 2147483647 h 4763"/>
              <a:gd name="T20" fmla="*/ 2147483647 w 2104"/>
              <a:gd name="T21" fmla="*/ 2147483647 h 4763"/>
              <a:gd name="T22" fmla="*/ 2147483647 w 2104"/>
              <a:gd name="T23" fmla="*/ 2147483647 h 4763"/>
              <a:gd name="T24" fmla="*/ 2147483647 w 2104"/>
              <a:gd name="T25" fmla="*/ 2147483647 h 4763"/>
              <a:gd name="T26" fmla="*/ 2147483647 w 2104"/>
              <a:gd name="T27" fmla="*/ 2147483647 h 4763"/>
              <a:gd name="T28" fmla="*/ 2147483647 w 2104"/>
              <a:gd name="T29" fmla="*/ 2147483647 h 4763"/>
              <a:gd name="T30" fmla="*/ 2147483647 w 2104"/>
              <a:gd name="T31" fmla="*/ 2147483647 h 4763"/>
              <a:gd name="T32" fmla="*/ 2147483647 w 2104"/>
              <a:gd name="T33" fmla="*/ 2147483647 h 4763"/>
              <a:gd name="T34" fmla="*/ 2147483647 w 2104"/>
              <a:gd name="T35" fmla="*/ 2147483647 h 4763"/>
              <a:gd name="T36" fmla="*/ 2147483647 w 2104"/>
              <a:gd name="T37" fmla="*/ 2147483647 h 4763"/>
              <a:gd name="T38" fmla="*/ 2147483647 w 2104"/>
              <a:gd name="T39" fmla="*/ 2147483647 h 4763"/>
              <a:gd name="T40" fmla="*/ 2147483647 w 2104"/>
              <a:gd name="T41" fmla="*/ 2147483647 h 4763"/>
              <a:gd name="T42" fmla="*/ 2147483647 w 2104"/>
              <a:gd name="T43" fmla="*/ 0 h 4763"/>
              <a:gd name="T44" fmla="*/ 2147483647 w 2104"/>
              <a:gd name="T45" fmla="*/ 2147483647 h 4763"/>
              <a:gd name="T46" fmla="*/ 2147483647 w 2104"/>
              <a:gd name="T47" fmla="*/ 2147483647 h 4763"/>
              <a:gd name="T48" fmla="*/ 2147483647 w 2104"/>
              <a:gd name="T49" fmla="*/ 2147483647 h 4763"/>
              <a:gd name="T50" fmla="*/ 2147483647 w 2104"/>
              <a:gd name="T51" fmla="*/ 2147483647 h 4763"/>
              <a:gd name="T52" fmla="*/ 2147483647 w 2104"/>
              <a:gd name="T53" fmla="*/ 2147483647 h 4763"/>
              <a:gd name="T54" fmla="*/ 2147483647 w 2104"/>
              <a:gd name="T55" fmla="*/ 2147483647 h 4763"/>
              <a:gd name="T56" fmla="*/ 2147483647 w 2104"/>
              <a:gd name="T57" fmla="*/ 2147483647 h 4763"/>
              <a:gd name="T58" fmla="*/ 2147483647 w 2104"/>
              <a:gd name="T59" fmla="*/ 2147483647 h 4763"/>
              <a:gd name="T60" fmla="*/ 2147483647 w 2104"/>
              <a:gd name="T61" fmla="*/ 2147483647 h 4763"/>
              <a:gd name="T62" fmla="*/ 2147483647 w 2104"/>
              <a:gd name="T63" fmla="*/ 2147483647 h 4763"/>
              <a:gd name="T64" fmla="*/ 2147483647 w 2104"/>
              <a:gd name="T65" fmla="*/ 2147483647 h 4763"/>
              <a:gd name="T66" fmla="*/ 2147483647 w 2104"/>
              <a:gd name="T67" fmla="*/ 2147483647 h 4763"/>
              <a:gd name="T68" fmla="*/ 2147483647 w 2104"/>
              <a:gd name="T69" fmla="*/ 2147483647 h 4763"/>
              <a:gd name="T70" fmla="*/ 2147483647 w 2104"/>
              <a:gd name="T71" fmla="*/ 2147483647 h 4763"/>
              <a:gd name="T72" fmla="*/ 2147483647 w 2104"/>
              <a:gd name="T73" fmla="*/ 2147483647 h 4763"/>
              <a:gd name="T74" fmla="*/ 2147483647 w 2104"/>
              <a:gd name="T75" fmla="*/ 2147483647 h 4763"/>
              <a:gd name="T76" fmla="*/ 2147483647 w 2104"/>
              <a:gd name="T77" fmla="*/ 2147483647 h 4763"/>
              <a:gd name="T78" fmla="*/ 2147483647 w 2104"/>
              <a:gd name="T79" fmla="*/ 2147483647 h 4763"/>
              <a:gd name="T80" fmla="*/ 2147483647 w 2104"/>
              <a:gd name="T81" fmla="*/ 2147483647 h 4763"/>
              <a:gd name="T82" fmla="*/ 2147483647 w 2104"/>
              <a:gd name="T83" fmla="*/ 2147483647 h 4763"/>
              <a:gd name="T84" fmla="*/ 2147483647 w 2104"/>
              <a:gd name="T85" fmla="*/ 2147483647 h 4763"/>
              <a:gd name="T86" fmla="*/ 2147483647 w 2104"/>
              <a:gd name="T87" fmla="*/ 2147483647 h 4763"/>
              <a:gd name="T88" fmla="*/ 2147483647 w 2104"/>
              <a:gd name="T89" fmla="*/ 2147483647 h 4763"/>
              <a:gd name="T90" fmla="*/ 2147483647 w 2104"/>
              <a:gd name="T91" fmla="*/ 2147483647 h 4763"/>
              <a:gd name="T92" fmla="*/ 2147483647 w 2104"/>
              <a:gd name="T93" fmla="*/ 2147483647 h 4763"/>
              <a:gd name="T94" fmla="*/ 2147483647 w 2104"/>
              <a:gd name="T95" fmla="*/ 2147483647 h 4763"/>
              <a:gd name="T96" fmla="*/ 2147483647 w 2104"/>
              <a:gd name="T97" fmla="*/ 2147483647 h 4763"/>
              <a:gd name="T98" fmla="*/ 2147483647 w 2104"/>
              <a:gd name="T99" fmla="*/ 2147483647 h 4763"/>
              <a:gd name="T100" fmla="*/ 2147483647 w 2104"/>
              <a:gd name="T101" fmla="*/ 2147483647 h 4763"/>
              <a:gd name="T102" fmla="*/ 2147483647 w 2104"/>
              <a:gd name="T103" fmla="*/ 2147483647 h 4763"/>
              <a:gd name="T104" fmla="*/ 2147483647 w 2104"/>
              <a:gd name="T105" fmla="*/ 2147483647 h 4763"/>
              <a:gd name="T106" fmla="*/ 2147483647 w 2104"/>
              <a:gd name="T107" fmla="*/ 2147483647 h 4763"/>
              <a:gd name="T108" fmla="*/ 2147483647 w 2104"/>
              <a:gd name="T109" fmla="*/ 2147483647 h 4763"/>
              <a:gd name="T110" fmla="*/ 2147483647 w 2104"/>
              <a:gd name="T111" fmla="*/ 2147483647 h 4763"/>
              <a:gd name="T112" fmla="*/ 2147483647 w 2104"/>
              <a:gd name="T113" fmla="*/ 2147483647 h 4763"/>
              <a:gd name="T114" fmla="*/ 2147483647 w 2104"/>
              <a:gd name="T115" fmla="*/ 2147483647 h 4763"/>
              <a:gd name="T116" fmla="*/ 2147483647 w 2104"/>
              <a:gd name="T117" fmla="*/ 2147483647 h 4763"/>
              <a:gd name="T118" fmla="*/ 2147483647 w 2104"/>
              <a:gd name="T119" fmla="*/ 2147483647 h 4763"/>
              <a:gd name="T120" fmla="*/ 2147483647 w 2104"/>
              <a:gd name="T121" fmla="*/ 2147483647 h 4763"/>
              <a:gd name="T122" fmla="*/ 2147483647 w 2104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04"/>
              <a:gd name="T187" fmla="*/ 0 h 4763"/>
              <a:gd name="T188" fmla="*/ 2104 w 2104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04" h="4763">
                <a:moveTo>
                  <a:pt x="1807" y="3008"/>
                </a:moveTo>
                <a:lnTo>
                  <a:pt x="1901" y="3008"/>
                </a:lnTo>
                <a:lnTo>
                  <a:pt x="1901" y="3933"/>
                </a:lnTo>
                <a:lnTo>
                  <a:pt x="1752" y="3933"/>
                </a:lnTo>
                <a:lnTo>
                  <a:pt x="1752" y="3012"/>
                </a:lnTo>
                <a:lnTo>
                  <a:pt x="1752" y="3008"/>
                </a:lnTo>
                <a:lnTo>
                  <a:pt x="1752" y="2835"/>
                </a:lnTo>
                <a:lnTo>
                  <a:pt x="1475" y="2835"/>
                </a:lnTo>
                <a:lnTo>
                  <a:pt x="1475" y="2782"/>
                </a:lnTo>
                <a:lnTo>
                  <a:pt x="1807" y="2782"/>
                </a:lnTo>
                <a:lnTo>
                  <a:pt x="1807" y="3008"/>
                </a:lnTo>
                <a:close/>
                <a:moveTo>
                  <a:pt x="1954" y="3008"/>
                </a:moveTo>
                <a:lnTo>
                  <a:pt x="2104" y="3008"/>
                </a:lnTo>
                <a:lnTo>
                  <a:pt x="2104" y="3933"/>
                </a:lnTo>
                <a:lnTo>
                  <a:pt x="1954" y="3933"/>
                </a:lnTo>
                <a:lnTo>
                  <a:pt x="1954" y="3008"/>
                </a:lnTo>
                <a:close/>
                <a:moveTo>
                  <a:pt x="1694" y="3008"/>
                </a:moveTo>
                <a:lnTo>
                  <a:pt x="1694" y="3933"/>
                </a:lnTo>
                <a:lnTo>
                  <a:pt x="1381" y="3933"/>
                </a:lnTo>
                <a:lnTo>
                  <a:pt x="1342" y="4763"/>
                </a:lnTo>
                <a:lnTo>
                  <a:pt x="896" y="4763"/>
                </a:lnTo>
                <a:lnTo>
                  <a:pt x="896" y="2726"/>
                </a:lnTo>
                <a:lnTo>
                  <a:pt x="843" y="2726"/>
                </a:lnTo>
                <a:lnTo>
                  <a:pt x="843" y="4763"/>
                </a:lnTo>
                <a:lnTo>
                  <a:pt x="397" y="4763"/>
                </a:lnTo>
                <a:lnTo>
                  <a:pt x="325" y="3219"/>
                </a:lnTo>
                <a:lnTo>
                  <a:pt x="151" y="3077"/>
                </a:lnTo>
                <a:lnTo>
                  <a:pt x="82" y="2792"/>
                </a:lnTo>
                <a:lnTo>
                  <a:pt x="137" y="2792"/>
                </a:lnTo>
                <a:lnTo>
                  <a:pt x="199" y="3046"/>
                </a:lnTo>
                <a:lnTo>
                  <a:pt x="323" y="3147"/>
                </a:lnTo>
                <a:lnTo>
                  <a:pt x="304" y="2739"/>
                </a:lnTo>
                <a:lnTo>
                  <a:pt x="299" y="2739"/>
                </a:lnTo>
                <a:lnTo>
                  <a:pt x="0" y="2739"/>
                </a:lnTo>
                <a:lnTo>
                  <a:pt x="0" y="1086"/>
                </a:lnTo>
                <a:lnTo>
                  <a:pt x="0" y="1065"/>
                </a:lnTo>
                <a:lnTo>
                  <a:pt x="4" y="1046"/>
                </a:lnTo>
                <a:lnTo>
                  <a:pt x="9" y="1029"/>
                </a:lnTo>
                <a:lnTo>
                  <a:pt x="16" y="1012"/>
                </a:lnTo>
                <a:lnTo>
                  <a:pt x="24" y="997"/>
                </a:lnTo>
                <a:lnTo>
                  <a:pt x="35" y="984"/>
                </a:lnTo>
                <a:lnTo>
                  <a:pt x="46" y="971"/>
                </a:lnTo>
                <a:lnTo>
                  <a:pt x="58" y="959"/>
                </a:lnTo>
                <a:lnTo>
                  <a:pt x="73" y="948"/>
                </a:lnTo>
                <a:lnTo>
                  <a:pt x="89" y="939"/>
                </a:lnTo>
                <a:lnTo>
                  <a:pt x="105" y="929"/>
                </a:lnTo>
                <a:lnTo>
                  <a:pt x="123" y="922"/>
                </a:lnTo>
                <a:lnTo>
                  <a:pt x="161" y="904"/>
                </a:lnTo>
                <a:lnTo>
                  <a:pt x="200" y="890"/>
                </a:lnTo>
                <a:lnTo>
                  <a:pt x="605" y="744"/>
                </a:lnTo>
                <a:lnTo>
                  <a:pt x="737" y="1523"/>
                </a:lnTo>
                <a:lnTo>
                  <a:pt x="806" y="918"/>
                </a:lnTo>
                <a:lnTo>
                  <a:pt x="789" y="910"/>
                </a:lnTo>
                <a:lnTo>
                  <a:pt x="773" y="899"/>
                </a:lnTo>
                <a:lnTo>
                  <a:pt x="759" y="886"/>
                </a:lnTo>
                <a:lnTo>
                  <a:pt x="749" y="871"/>
                </a:lnTo>
                <a:lnTo>
                  <a:pt x="850" y="775"/>
                </a:lnTo>
                <a:lnTo>
                  <a:pt x="950" y="871"/>
                </a:lnTo>
                <a:lnTo>
                  <a:pt x="940" y="886"/>
                </a:lnTo>
                <a:lnTo>
                  <a:pt x="927" y="899"/>
                </a:lnTo>
                <a:lnTo>
                  <a:pt x="911" y="910"/>
                </a:lnTo>
                <a:lnTo>
                  <a:pt x="895" y="918"/>
                </a:lnTo>
                <a:lnTo>
                  <a:pt x="962" y="1523"/>
                </a:lnTo>
                <a:lnTo>
                  <a:pt x="1094" y="744"/>
                </a:lnTo>
                <a:lnTo>
                  <a:pt x="1499" y="890"/>
                </a:lnTo>
                <a:lnTo>
                  <a:pt x="1539" y="904"/>
                </a:lnTo>
                <a:lnTo>
                  <a:pt x="1577" y="922"/>
                </a:lnTo>
                <a:lnTo>
                  <a:pt x="1594" y="929"/>
                </a:lnTo>
                <a:lnTo>
                  <a:pt x="1610" y="939"/>
                </a:lnTo>
                <a:lnTo>
                  <a:pt x="1626" y="948"/>
                </a:lnTo>
                <a:lnTo>
                  <a:pt x="1641" y="959"/>
                </a:lnTo>
                <a:lnTo>
                  <a:pt x="1654" y="971"/>
                </a:lnTo>
                <a:lnTo>
                  <a:pt x="1666" y="984"/>
                </a:lnTo>
                <a:lnTo>
                  <a:pt x="1675" y="997"/>
                </a:lnTo>
                <a:lnTo>
                  <a:pt x="1685" y="1012"/>
                </a:lnTo>
                <a:lnTo>
                  <a:pt x="1691" y="1029"/>
                </a:lnTo>
                <a:lnTo>
                  <a:pt x="1696" y="1046"/>
                </a:lnTo>
                <a:lnTo>
                  <a:pt x="1699" y="1065"/>
                </a:lnTo>
                <a:lnTo>
                  <a:pt x="1700" y="1086"/>
                </a:lnTo>
                <a:lnTo>
                  <a:pt x="1700" y="2739"/>
                </a:lnTo>
                <a:lnTo>
                  <a:pt x="1435" y="2739"/>
                </a:lnTo>
                <a:lnTo>
                  <a:pt x="1423" y="3008"/>
                </a:lnTo>
                <a:lnTo>
                  <a:pt x="1694" y="3008"/>
                </a:lnTo>
                <a:close/>
                <a:moveTo>
                  <a:pt x="840" y="0"/>
                </a:moveTo>
                <a:lnTo>
                  <a:pt x="840" y="0"/>
                </a:lnTo>
                <a:lnTo>
                  <a:pt x="868" y="1"/>
                </a:lnTo>
                <a:lnTo>
                  <a:pt x="895" y="7"/>
                </a:lnTo>
                <a:lnTo>
                  <a:pt x="921" y="13"/>
                </a:lnTo>
                <a:lnTo>
                  <a:pt x="945" y="24"/>
                </a:lnTo>
                <a:lnTo>
                  <a:pt x="969" y="37"/>
                </a:lnTo>
                <a:lnTo>
                  <a:pt x="990" y="52"/>
                </a:lnTo>
                <a:lnTo>
                  <a:pt x="1012" y="69"/>
                </a:lnTo>
                <a:lnTo>
                  <a:pt x="1030" y="89"/>
                </a:lnTo>
                <a:lnTo>
                  <a:pt x="1047" y="110"/>
                </a:lnTo>
                <a:lnTo>
                  <a:pt x="1062" y="133"/>
                </a:lnTo>
                <a:lnTo>
                  <a:pt x="1075" y="157"/>
                </a:lnTo>
                <a:lnTo>
                  <a:pt x="1087" y="183"/>
                </a:lnTo>
                <a:lnTo>
                  <a:pt x="1095" y="210"/>
                </a:lnTo>
                <a:lnTo>
                  <a:pt x="1102" y="238"/>
                </a:lnTo>
                <a:lnTo>
                  <a:pt x="1106" y="267"/>
                </a:lnTo>
                <a:lnTo>
                  <a:pt x="1107" y="297"/>
                </a:lnTo>
                <a:lnTo>
                  <a:pt x="1108" y="340"/>
                </a:lnTo>
                <a:lnTo>
                  <a:pt x="1108" y="370"/>
                </a:lnTo>
                <a:lnTo>
                  <a:pt x="1107" y="381"/>
                </a:lnTo>
                <a:lnTo>
                  <a:pt x="1106" y="385"/>
                </a:lnTo>
                <a:lnTo>
                  <a:pt x="1104" y="414"/>
                </a:lnTo>
                <a:lnTo>
                  <a:pt x="1100" y="442"/>
                </a:lnTo>
                <a:lnTo>
                  <a:pt x="1094" y="469"/>
                </a:lnTo>
                <a:lnTo>
                  <a:pt x="1085" y="494"/>
                </a:lnTo>
                <a:lnTo>
                  <a:pt x="1074" y="519"/>
                </a:lnTo>
                <a:lnTo>
                  <a:pt x="1061" y="542"/>
                </a:lnTo>
                <a:lnTo>
                  <a:pt x="1045" y="563"/>
                </a:lnTo>
                <a:lnTo>
                  <a:pt x="1027" y="583"/>
                </a:lnTo>
                <a:lnTo>
                  <a:pt x="1009" y="602"/>
                </a:lnTo>
                <a:lnTo>
                  <a:pt x="988" y="617"/>
                </a:lnTo>
                <a:lnTo>
                  <a:pt x="966" y="632"/>
                </a:lnTo>
                <a:lnTo>
                  <a:pt x="942" y="644"/>
                </a:lnTo>
                <a:lnTo>
                  <a:pt x="919" y="653"/>
                </a:lnTo>
                <a:lnTo>
                  <a:pt x="893" y="660"/>
                </a:lnTo>
                <a:lnTo>
                  <a:pt x="867" y="664"/>
                </a:lnTo>
                <a:lnTo>
                  <a:pt x="840" y="665"/>
                </a:lnTo>
                <a:lnTo>
                  <a:pt x="814" y="664"/>
                </a:lnTo>
                <a:lnTo>
                  <a:pt x="787" y="660"/>
                </a:lnTo>
                <a:lnTo>
                  <a:pt x="762" y="653"/>
                </a:lnTo>
                <a:lnTo>
                  <a:pt x="738" y="644"/>
                </a:lnTo>
                <a:lnTo>
                  <a:pt x="714" y="632"/>
                </a:lnTo>
                <a:lnTo>
                  <a:pt x="693" y="617"/>
                </a:lnTo>
                <a:lnTo>
                  <a:pt x="672" y="602"/>
                </a:lnTo>
                <a:lnTo>
                  <a:pt x="653" y="583"/>
                </a:lnTo>
                <a:lnTo>
                  <a:pt x="636" y="563"/>
                </a:lnTo>
                <a:lnTo>
                  <a:pt x="620" y="542"/>
                </a:lnTo>
                <a:lnTo>
                  <a:pt x="607" y="519"/>
                </a:lnTo>
                <a:lnTo>
                  <a:pt x="596" y="494"/>
                </a:lnTo>
                <a:lnTo>
                  <a:pt x="587" y="469"/>
                </a:lnTo>
                <a:lnTo>
                  <a:pt x="580" y="442"/>
                </a:lnTo>
                <a:lnTo>
                  <a:pt x="576" y="414"/>
                </a:lnTo>
                <a:lnTo>
                  <a:pt x="573" y="385"/>
                </a:lnTo>
                <a:lnTo>
                  <a:pt x="573" y="381"/>
                </a:lnTo>
                <a:lnTo>
                  <a:pt x="572" y="370"/>
                </a:lnTo>
                <a:lnTo>
                  <a:pt x="572" y="340"/>
                </a:lnTo>
                <a:lnTo>
                  <a:pt x="573" y="297"/>
                </a:lnTo>
                <a:lnTo>
                  <a:pt x="575" y="267"/>
                </a:lnTo>
                <a:lnTo>
                  <a:pt x="579" y="238"/>
                </a:lnTo>
                <a:lnTo>
                  <a:pt x="585" y="210"/>
                </a:lnTo>
                <a:lnTo>
                  <a:pt x="593" y="183"/>
                </a:lnTo>
                <a:lnTo>
                  <a:pt x="605" y="157"/>
                </a:lnTo>
                <a:lnTo>
                  <a:pt x="619" y="133"/>
                </a:lnTo>
                <a:lnTo>
                  <a:pt x="633" y="110"/>
                </a:lnTo>
                <a:lnTo>
                  <a:pt x="650" y="89"/>
                </a:lnTo>
                <a:lnTo>
                  <a:pt x="669" y="69"/>
                </a:lnTo>
                <a:lnTo>
                  <a:pt x="689" y="52"/>
                </a:lnTo>
                <a:lnTo>
                  <a:pt x="712" y="37"/>
                </a:lnTo>
                <a:lnTo>
                  <a:pt x="735" y="24"/>
                </a:lnTo>
                <a:lnTo>
                  <a:pt x="759" y="13"/>
                </a:lnTo>
                <a:lnTo>
                  <a:pt x="786" y="7"/>
                </a:lnTo>
                <a:lnTo>
                  <a:pt x="812" y="1"/>
                </a:lnTo>
                <a:lnTo>
                  <a:pt x="840" y="0"/>
                </a:lnTo>
                <a:close/>
                <a:moveTo>
                  <a:pt x="639" y="218"/>
                </a:moveTo>
                <a:lnTo>
                  <a:pt x="639" y="218"/>
                </a:lnTo>
                <a:lnTo>
                  <a:pt x="633" y="236"/>
                </a:lnTo>
                <a:lnTo>
                  <a:pt x="629" y="256"/>
                </a:lnTo>
                <a:lnTo>
                  <a:pt x="628" y="276"/>
                </a:lnTo>
                <a:lnTo>
                  <a:pt x="627" y="297"/>
                </a:lnTo>
                <a:lnTo>
                  <a:pt x="627" y="368"/>
                </a:lnTo>
                <a:lnTo>
                  <a:pt x="628" y="394"/>
                </a:lnTo>
                <a:lnTo>
                  <a:pt x="631" y="418"/>
                </a:lnTo>
                <a:lnTo>
                  <a:pt x="636" y="442"/>
                </a:lnTo>
                <a:lnTo>
                  <a:pt x="644" y="465"/>
                </a:lnTo>
                <a:lnTo>
                  <a:pt x="653" y="486"/>
                </a:lnTo>
                <a:lnTo>
                  <a:pt x="664" y="506"/>
                </a:lnTo>
                <a:lnTo>
                  <a:pt x="676" y="525"/>
                </a:lnTo>
                <a:lnTo>
                  <a:pt x="690" y="542"/>
                </a:lnTo>
                <a:lnTo>
                  <a:pt x="706" y="558"/>
                </a:lnTo>
                <a:lnTo>
                  <a:pt x="722" y="572"/>
                </a:lnTo>
                <a:lnTo>
                  <a:pt x="739" y="584"/>
                </a:lnTo>
                <a:lnTo>
                  <a:pt x="758" y="594"/>
                </a:lnTo>
                <a:lnTo>
                  <a:pt x="778" y="602"/>
                </a:lnTo>
                <a:lnTo>
                  <a:pt x="798" y="608"/>
                </a:lnTo>
                <a:lnTo>
                  <a:pt x="819" y="611"/>
                </a:lnTo>
                <a:lnTo>
                  <a:pt x="840" y="612"/>
                </a:lnTo>
                <a:lnTo>
                  <a:pt x="862" y="611"/>
                </a:lnTo>
                <a:lnTo>
                  <a:pt x="883" y="608"/>
                </a:lnTo>
                <a:lnTo>
                  <a:pt x="903" y="602"/>
                </a:lnTo>
                <a:lnTo>
                  <a:pt x="923" y="594"/>
                </a:lnTo>
                <a:lnTo>
                  <a:pt x="941" y="584"/>
                </a:lnTo>
                <a:lnTo>
                  <a:pt x="958" y="572"/>
                </a:lnTo>
                <a:lnTo>
                  <a:pt x="974" y="558"/>
                </a:lnTo>
                <a:lnTo>
                  <a:pt x="990" y="542"/>
                </a:lnTo>
                <a:lnTo>
                  <a:pt x="1004" y="525"/>
                </a:lnTo>
                <a:lnTo>
                  <a:pt x="1017" y="506"/>
                </a:lnTo>
                <a:lnTo>
                  <a:pt x="1027" y="486"/>
                </a:lnTo>
                <a:lnTo>
                  <a:pt x="1037" y="465"/>
                </a:lnTo>
                <a:lnTo>
                  <a:pt x="1043" y="442"/>
                </a:lnTo>
                <a:lnTo>
                  <a:pt x="1049" y="418"/>
                </a:lnTo>
                <a:lnTo>
                  <a:pt x="1053" y="394"/>
                </a:lnTo>
                <a:lnTo>
                  <a:pt x="1054" y="368"/>
                </a:lnTo>
                <a:lnTo>
                  <a:pt x="1054" y="297"/>
                </a:lnTo>
                <a:lnTo>
                  <a:pt x="1053" y="274"/>
                </a:lnTo>
                <a:lnTo>
                  <a:pt x="1050" y="252"/>
                </a:lnTo>
                <a:lnTo>
                  <a:pt x="1046" y="230"/>
                </a:lnTo>
                <a:lnTo>
                  <a:pt x="1039" y="208"/>
                </a:lnTo>
                <a:lnTo>
                  <a:pt x="1033" y="199"/>
                </a:lnTo>
                <a:lnTo>
                  <a:pt x="1025" y="190"/>
                </a:lnTo>
                <a:lnTo>
                  <a:pt x="1015" y="181"/>
                </a:lnTo>
                <a:lnTo>
                  <a:pt x="1006" y="173"/>
                </a:lnTo>
                <a:lnTo>
                  <a:pt x="996" y="165"/>
                </a:lnTo>
                <a:lnTo>
                  <a:pt x="985" y="158"/>
                </a:lnTo>
                <a:lnTo>
                  <a:pt x="962" y="146"/>
                </a:lnTo>
                <a:lnTo>
                  <a:pt x="950" y="159"/>
                </a:lnTo>
                <a:lnTo>
                  <a:pt x="937" y="171"/>
                </a:lnTo>
                <a:lnTo>
                  <a:pt x="923" y="182"/>
                </a:lnTo>
                <a:lnTo>
                  <a:pt x="908" y="191"/>
                </a:lnTo>
                <a:lnTo>
                  <a:pt x="891" y="198"/>
                </a:lnTo>
                <a:lnTo>
                  <a:pt x="873" y="203"/>
                </a:lnTo>
                <a:lnTo>
                  <a:pt x="855" y="206"/>
                </a:lnTo>
                <a:lnTo>
                  <a:pt x="835" y="207"/>
                </a:lnTo>
                <a:lnTo>
                  <a:pt x="818" y="206"/>
                </a:lnTo>
                <a:lnTo>
                  <a:pt x="799" y="203"/>
                </a:lnTo>
                <a:lnTo>
                  <a:pt x="782" y="198"/>
                </a:lnTo>
                <a:lnTo>
                  <a:pt x="766" y="191"/>
                </a:lnTo>
                <a:lnTo>
                  <a:pt x="751" y="183"/>
                </a:lnTo>
                <a:lnTo>
                  <a:pt x="737" y="174"/>
                </a:lnTo>
                <a:lnTo>
                  <a:pt x="723" y="162"/>
                </a:lnTo>
                <a:lnTo>
                  <a:pt x="712" y="150"/>
                </a:lnTo>
                <a:lnTo>
                  <a:pt x="689" y="162"/>
                </a:lnTo>
                <a:lnTo>
                  <a:pt x="680" y="170"/>
                </a:lnTo>
                <a:lnTo>
                  <a:pt x="669" y="178"/>
                </a:lnTo>
                <a:lnTo>
                  <a:pt x="660" y="187"/>
                </a:lnTo>
                <a:lnTo>
                  <a:pt x="652" y="197"/>
                </a:lnTo>
                <a:lnTo>
                  <a:pt x="645" y="206"/>
                </a:lnTo>
                <a:lnTo>
                  <a:pt x="639" y="218"/>
                </a:lnTo>
                <a:close/>
              </a:path>
            </a:pathLst>
          </a:custGeom>
          <a:solidFill>
            <a:srgbClr val="F6BB42"/>
          </a:solidFill>
          <a:ln>
            <a:noFill/>
          </a:ln>
        </p:spPr>
        <p:txBody>
          <a:bodyPr/>
          <a:lstStyle/>
          <a:p>
            <a:endParaRPr lang="ru-RU">
              <a:solidFill>
                <a:srgbClr val="F6BB42"/>
              </a:solidFill>
            </a:endParaRPr>
          </a:p>
        </p:txBody>
      </p:sp>
      <p:sp>
        <p:nvSpPr>
          <p:cNvPr id="32" name="Freeform 92"/>
          <p:cNvSpPr>
            <a:spLocks noChangeAspect="1" noEditPoints="1"/>
          </p:cNvSpPr>
          <p:nvPr/>
        </p:nvSpPr>
        <p:spPr bwMode="auto">
          <a:xfrm>
            <a:off x="7831670" y="3783221"/>
            <a:ext cx="693648" cy="817750"/>
          </a:xfrm>
          <a:custGeom>
            <a:avLst/>
            <a:gdLst>
              <a:gd name="T0" fmla="*/ 2147483647 w 3994"/>
              <a:gd name="T1" fmla="*/ 2147483647 h 4711"/>
              <a:gd name="T2" fmla="*/ 2147483647 w 3994"/>
              <a:gd name="T3" fmla="*/ 2147483647 h 4711"/>
              <a:gd name="T4" fmla="*/ 2147483647 w 3994"/>
              <a:gd name="T5" fmla="*/ 2147483647 h 4711"/>
              <a:gd name="T6" fmla="*/ 2147483647 w 3994"/>
              <a:gd name="T7" fmla="*/ 2147483647 h 4711"/>
              <a:gd name="T8" fmla="*/ 2147483647 w 3994"/>
              <a:gd name="T9" fmla="*/ 2147483647 h 4711"/>
              <a:gd name="T10" fmla="*/ 2147483647 w 3994"/>
              <a:gd name="T11" fmla="*/ 2147483647 h 4711"/>
              <a:gd name="T12" fmla="*/ 2147483647 w 3994"/>
              <a:gd name="T13" fmla="*/ 2147483647 h 4711"/>
              <a:gd name="T14" fmla="*/ 2147483647 w 3994"/>
              <a:gd name="T15" fmla="*/ 2147483647 h 4711"/>
              <a:gd name="T16" fmla="*/ 2147483647 w 3994"/>
              <a:gd name="T17" fmla="*/ 2147483647 h 4711"/>
              <a:gd name="T18" fmla="*/ 2147483647 w 3994"/>
              <a:gd name="T19" fmla="*/ 2147483647 h 4711"/>
              <a:gd name="T20" fmla="*/ 2147483647 w 3994"/>
              <a:gd name="T21" fmla="*/ 2147483647 h 4711"/>
              <a:gd name="T22" fmla="*/ 2147483647 w 3994"/>
              <a:gd name="T23" fmla="*/ 2147483647 h 4711"/>
              <a:gd name="T24" fmla="*/ 2147483647 w 3994"/>
              <a:gd name="T25" fmla="*/ 2147483647 h 4711"/>
              <a:gd name="T26" fmla="*/ 2147483647 w 3994"/>
              <a:gd name="T27" fmla="*/ 2147483647 h 4711"/>
              <a:gd name="T28" fmla="*/ 2147483647 w 3994"/>
              <a:gd name="T29" fmla="*/ 2147483647 h 4711"/>
              <a:gd name="T30" fmla="*/ 2147483647 w 3994"/>
              <a:gd name="T31" fmla="*/ 2147483647 h 4711"/>
              <a:gd name="T32" fmla="*/ 2147483647 w 3994"/>
              <a:gd name="T33" fmla="*/ 2147483647 h 4711"/>
              <a:gd name="T34" fmla="*/ 2147483647 w 3994"/>
              <a:gd name="T35" fmla="*/ 2147483647 h 4711"/>
              <a:gd name="T36" fmla="*/ 2147483647 w 3994"/>
              <a:gd name="T37" fmla="*/ 2147483647 h 4711"/>
              <a:gd name="T38" fmla="*/ 2147483647 w 3994"/>
              <a:gd name="T39" fmla="*/ 2147483647 h 4711"/>
              <a:gd name="T40" fmla="*/ 2147483647 w 3994"/>
              <a:gd name="T41" fmla="*/ 2147483647 h 4711"/>
              <a:gd name="T42" fmla="*/ 2147483647 w 3994"/>
              <a:gd name="T43" fmla="*/ 2147483647 h 4711"/>
              <a:gd name="T44" fmla="*/ 2147483647 w 3994"/>
              <a:gd name="T45" fmla="*/ 2147483647 h 4711"/>
              <a:gd name="T46" fmla="*/ 2147483647 w 3994"/>
              <a:gd name="T47" fmla="*/ 2147483647 h 4711"/>
              <a:gd name="T48" fmla="*/ 2147483647 w 3994"/>
              <a:gd name="T49" fmla="*/ 2147483647 h 4711"/>
              <a:gd name="T50" fmla="*/ 2147483647 w 3994"/>
              <a:gd name="T51" fmla="*/ 2147483647 h 4711"/>
              <a:gd name="T52" fmla="*/ 2147483647 w 3994"/>
              <a:gd name="T53" fmla="*/ 2147483647 h 4711"/>
              <a:gd name="T54" fmla="*/ 2147483647 w 3994"/>
              <a:gd name="T55" fmla="*/ 2147483647 h 4711"/>
              <a:gd name="T56" fmla="*/ 2147483647 w 3994"/>
              <a:gd name="T57" fmla="*/ 2147483647 h 4711"/>
              <a:gd name="T58" fmla="*/ 2147483647 w 3994"/>
              <a:gd name="T59" fmla="*/ 2147483647 h 4711"/>
              <a:gd name="T60" fmla="*/ 2147483647 w 3994"/>
              <a:gd name="T61" fmla="*/ 2147483647 h 4711"/>
              <a:gd name="T62" fmla="*/ 2147483647 w 3994"/>
              <a:gd name="T63" fmla="*/ 2147483647 h 4711"/>
              <a:gd name="T64" fmla="*/ 2147483647 w 3994"/>
              <a:gd name="T65" fmla="*/ 2147483647 h 4711"/>
              <a:gd name="T66" fmla="*/ 2147483647 w 3994"/>
              <a:gd name="T67" fmla="*/ 2147483647 h 4711"/>
              <a:gd name="T68" fmla="*/ 2147483647 w 3994"/>
              <a:gd name="T69" fmla="*/ 2147483647 h 4711"/>
              <a:gd name="T70" fmla="*/ 2147483647 w 3994"/>
              <a:gd name="T71" fmla="*/ 2147483647 h 4711"/>
              <a:gd name="T72" fmla="*/ 2147483647 w 3994"/>
              <a:gd name="T73" fmla="*/ 2147483647 h 4711"/>
              <a:gd name="T74" fmla="*/ 2147483647 w 3994"/>
              <a:gd name="T75" fmla="*/ 2147483647 h 4711"/>
              <a:gd name="T76" fmla="*/ 2147483647 w 3994"/>
              <a:gd name="T77" fmla="*/ 2147483647 h 4711"/>
              <a:gd name="T78" fmla="*/ 2147483647 w 3994"/>
              <a:gd name="T79" fmla="*/ 2147483647 h 4711"/>
              <a:gd name="T80" fmla="*/ 2147483647 w 3994"/>
              <a:gd name="T81" fmla="*/ 2147483647 h 4711"/>
              <a:gd name="T82" fmla="*/ 2147483647 w 3994"/>
              <a:gd name="T83" fmla="*/ 2147483647 h 4711"/>
              <a:gd name="T84" fmla="*/ 2147483647 w 3994"/>
              <a:gd name="T85" fmla="*/ 2147483647 h 4711"/>
              <a:gd name="T86" fmla="*/ 2147483647 w 3994"/>
              <a:gd name="T87" fmla="*/ 2147483647 h 4711"/>
              <a:gd name="T88" fmla="*/ 2147483647 w 3994"/>
              <a:gd name="T89" fmla="*/ 2147483647 h 4711"/>
              <a:gd name="T90" fmla="*/ 2147483647 w 3994"/>
              <a:gd name="T91" fmla="*/ 2147483647 h 4711"/>
              <a:gd name="T92" fmla="*/ 2147483647 w 3994"/>
              <a:gd name="T93" fmla="*/ 2147483647 h 4711"/>
              <a:gd name="T94" fmla="*/ 2147483647 w 3994"/>
              <a:gd name="T95" fmla="*/ 2147483647 h 4711"/>
              <a:gd name="T96" fmla="*/ 2147483647 w 3994"/>
              <a:gd name="T97" fmla="*/ 2147483647 h 4711"/>
              <a:gd name="T98" fmla="*/ 2147483647 w 3994"/>
              <a:gd name="T99" fmla="*/ 2147483647 h 4711"/>
              <a:gd name="T100" fmla="*/ 2147483647 w 3994"/>
              <a:gd name="T101" fmla="*/ 2147483647 h 4711"/>
              <a:gd name="T102" fmla="*/ 2147483647 w 3994"/>
              <a:gd name="T103" fmla="*/ 2147483647 h 4711"/>
              <a:gd name="T104" fmla="*/ 2147483647 w 3994"/>
              <a:gd name="T105" fmla="*/ 2147483647 h 4711"/>
              <a:gd name="T106" fmla="*/ 2147483647 w 3994"/>
              <a:gd name="T107" fmla="*/ 2147483647 h 4711"/>
              <a:gd name="T108" fmla="*/ 2147483647 w 3994"/>
              <a:gd name="T109" fmla="*/ 2147483647 h 4711"/>
              <a:gd name="T110" fmla="*/ 2147483647 w 3994"/>
              <a:gd name="T111" fmla="*/ 2147483647 h 4711"/>
              <a:gd name="T112" fmla="*/ 2147483647 w 3994"/>
              <a:gd name="T113" fmla="*/ 2147483647 h 4711"/>
              <a:gd name="T114" fmla="*/ 2147483647 w 3994"/>
              <a:gd name="T115" fmla="*/ 2147483647 h 4711"/>
              <a:gd name="T116" fmla="*/ 2147483647 w 3994"/>
              <a:gd name="T117" fmla="*/ 2147483647 h 4711"/>
              <a:gd name="T118" fmla="*/ 2147483647 w 3994"/>
              <a:gd name="T119" fmla="*/ 2147483647 h 4711"/>
              <a:gd name="T120" fmla="*/ 2147483647 w 3994"/>
              <a:gd name="T121" fmla="*/ 2147483647 h 4711"/>
              <a:gd name="T122" fmla="*/ 2147483647 w 3994"/>
              <a:gd name="T123" fmla="*/ 2147483647 h 4711"/>
              <a:gd name="T124" fmla="*/ 2147483647 w 3994"/>
              <a:gd name="T125" fmla="*/ 2147483647 h 471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994"/>
              <a:gd name="T190" fmla="*/ 0 h 4711"/>
              <a:gd name="T191" fmla="*/ 3994 w 3994"/>
              <a:gd name="T192" fmla="*/ 4711 h 471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994" h="4711">
                <a:moveTo>
                  <a:pt x="1052" y="492"/>
                </a:moveTo>
                <a:lnTo>
                  <a:pt x="1052" y="563"/>
                </a:lnTo>
                <a:lnTo>
                  <a:pt x="1050" y="588"/>
                </a:lnTo>
                <a:lnTo>
                  <a:pt x="1048" y="613"/>
                </a:lnTo>
                <a:lnTo>
                  <a:pt x="1042" y="638"/>
                </a:lnTo>
                <a:lnTo>
                  <a:pt x="1035" y="660"/>
                </a:lnTo>
                <a:lnTo>
                  <a:pt x="1026" y="682"/>
                </a:lnTo>
                <a:lnTo>
                  <a:pt x="1015" y="701"/>
                </a:lnTo>
                <a:lnTo>
                  <a:pt x="1002" y="720"/>
                </a:lnTo>
                <a:lnTo>
                  <a:pt x="989" y="738"/>
                </a:lnTo>
                <a:lnTo>
                  <a:pt x="973" y="753"/>
                </a:lnTo>
                <a:lnTo>
                  <a:pt x="957" y="767"/>
                </a:lnTo>
                <a:lnTo>
                  <a:pt x="939" y="779"/>
                </a:lnTo>
                <a:lnTo>
                  <a:pt x="920" y="789"/>
                </a:lnTo>
                <a:lnTo>
                  <a:pt x="900" y="797"/>
                </a:lnTo>
                <a:lnTo>
                  <a:pt x="880" y="804"/>
                </a:lnTo>
                <a:lnTo>
                  <a:pt x="859" y="807"/>
                </a:lnTo>
                <a:lnTo>
                  <a:pt x="837" y="808"/>
                </a:lnTo>
                <a:lnTo>
                  <a:pt x="816" y="807"/>
                </a:lnTo>
                <a:lnTo>
                  <a:pt x="796" y="804"/>
                </a:lnTo>
                <a:lnTo>
                  <a:pt x="775" y="797"/>
                </a:lnTo>
                <a:lnTo>
                  <a:pt x="754" y="789"/>
                </a:lnTo>
                <a:lnTo>
                  <a:pt x="737" y="779"/>
                </a:lnTo>
                <a:lnTo>
                  <a:pt x="719" y="767"/>
                </a:lnTo>
                <a:lnTo>
                  <a:pt x="702" y="753"/>
                </a:lnTo>
                <a:lnTo>
                  <a:pt x="687" y="738"/>
                </a:lnTo>
                <a:lnTo>
                  <a:pt x="672" y="720"/>
                </a:lnTo>
                <a:lnTo>
                  <a:pt x="659" y="701"/>
                </a:lnTo>
                <a:lnTo>
                  <a:pt x="648" y="682"/>
                </a:lnTo>
                <a:lnTo>
                  <a:pt x="640" y="660"/>
                </a:lnTo>
                <a:lnTo>
                  <a:pt x="632" y="638"/>
                </a:lnTo>
                <a:lnTo>
                  <a:pt x="628" y="613"/>
                </a:lnTo>
                <a:lnTo>
                  <a:pt x="624" y="588"/>
                </a:lnTo>
                <a:lnTo>
                  <a:pt x="622" y="563"/>
                </a:lnTo>
                <a:lnTo>
                  <a:pt x="624" y="449"/>
                </a:lnTo>
                <a:lnTo>
                  <a:pt x="646" y="454"/>
                </a:lnTo>
                <a:lnTo>
                  <a:pt x="670" y="459"/>
                </a:lnTo>
                <a:lnTo>
                  <a:pt x="694" y="460"/>
                </a:lnTo>
                <a:lnTo>
                  <a:pt x="719" y="461"/>
                </a:lnTo>
                <a:lnTo>
                  <a:pt x="738" y="461"/>
                </a:lnTo>
                <a:lnTo>
                  <a:pt x="756" y="459"/>
                </a:lnTo>
                <a:lnTo>
                  <a:pt x="775" y="457"/>
                </a:lnTo>
                <a:lnTo>
                  <a:pt x="793" y="453"/>
                </a:lnTo>
                <a:lnTo>
                  <a:pt x="811" y="449"/>
                </a:lnTo>
                <a:lnTo>
                  <a:pt x="829" y="443"/>
                </a:lnTo>
                <a:lnTo>
                  <a:pt x="847" y="438"/>
                </a:lnTo>
                <a:lnTo>
                  <a:pt x="863" y="431"/>
                </a:lnTo>
                <a:lnTo>
                  <a:pt x="880" y="423"/>
                </a:lnTo>
                <a:lnTo>
                  <a:pt x="896" y="414"/>
                </a:lnTo>
                <a:lnTo>
                  <a:pt x="911" y="405"/>
                </a:lnTo>
                <a:lnTo>
                  <a:pt x="927" y="395"/>
                </a:lnTo>
                <a:lnTo>
                  <a:pt x="940" y="384"/>
                </a:lnTo>
                <a:lnTo>
                  <a:pt x="954" y="373"/>
                </a:lnTo>
                <a:lnTo>
                  <a:pt x="968" y="361"/>
                </a:lnTo>
                <a:lnTo>
                  <a:pt x="980" y="348"/>
                </a:lnTo>
                <a:lnTo>
                  <a:pt x="990" y="354"/>
                </a:lnTo>
                <a:lnTo>
                  <a:pt x="1001" y="361"/>
                </a:lnTo>
                <a:lnTo>
                  <a:pt x="1013" y="370"/>
                </a:lnTo>
                <a:lnTo>
                  <a:pt x="1019" y="376"/>
                </a:lnTo>
                <a:lnTo>
                  <a:pt x="1024" y="383"/>
                </a:lnTo>
                <a:lnTo>
                  <a:pt x="1030" y="391"/>
                </a:lnTo>
                <a:lnTo>
                  <a:pt x="1035" y="401"/>
                </a:lnTo>
                <a:lnTo>
                  <a:pt x="1039" y="412"/>
                </a:lnTo>
                <a:lnTo>
                  <a:pt x="1044" y="424"/>
                </a:lnTo>
                <a:lnTo>
                  <a:pt x="1048" y="438"/>
                </a:lnTo>
                <a:lnTo>
                  <a:pt x="1050" y="454"/>
                </a:lnTo>
                <a:lnTo>
                  <a:pt x="1052" y="471"/>
                </a:lnTo>
                <a:lnTo>
                  <a:pt x="1052" y="492"/>
                </a:lnTo>
                <a:close/>
                <a:moveTo>
                  <a:pt x="570" y="598"/>
                </a:moveTo>
                <a:lnTo>
                  <a:pt x="505" y="403"/>
                </a:lnTo>
                <a:lnTo>
                  <a:pt x="501" y="384"/>
                </a:lnTo>
                <a:lnTo>
                  <a:pt x="500" y="365"/>
                </a:lnTo>
                <a:lnTo>
                  <a:pt x="501" y="347"/>
                </a:lnTo>
                <a:lnTo>
                  <a:pt x="505" y="329"/>
                </a:lnTo>
                <a:lnTo>
                  <a:pt x="512" y="313"/>
                </a:lnTo>
                <a:lnTo>
                  <a:pt x="522" y="296"/>
                </a:lnTo>
                <a:lnTo>
                  <a:pt x="534" y="280"/>
                </a:lnTo>
                <a:lnTo>
                  <a:pt x="548" y="264"/>
                </a:lnTo>
                <a:lnTo>
                  <a:pt x="564" y="251"/>
                </a:lnTo>
                <a:lnTo>
                  <a:pt x="582" y="237"/>
                </a:lnTo>
                <a:lnTo>
                  <a:pt x="600" y="223"/>
                </a:lnTo>
                <a:lnTo>
                  <a:pt x="621" y="211"/>
                </a:lnTo>
                <a:lnTo>
                  <a:pt x="643" y="200"/>
                </a:lnTo>
                <a:lnTo>
                  <a:pt x="665" y="189"/>
                </a:lnTo>
                <a:lnTo>
                  <a:pt x="688" y="178"/>
                </a:lnTo>
                <a:lnTo>
                  <a:pt x="712" y="169"/>
                </a:lnTo>
                <a:lnTo>
                  <a:pt x="735" y="161"/>
                </a:lnTo>
                <a:lnTo>
                  <a:pt x="760" y="153"/>
                </a:lnTo>
                <a:lnTo>
                  <a:pt x="783" y="146"/>
                </a:lnTo>
                <a:lnTo>
                  <a:pt x="807" y="140"/>
                </a:lnTo>
                <a:lnTo>
                  <a:pt x="830" y="136"/>
                </a:lnTo>
                <a:lnTo>
                  <a:pt x="854" y="132"/>
                </a:lnTo>
                <a:lnTo>
                  <a:pt x="874" y="129"/>
                </a:lnTo>
                <a:lnTo>
                  <a:pt x="895" y="128"/>
                </a:lnTo>
                <a:lnTo>
                  <a:pt x="914" y="127"/>
                </a:lnTo>
                <a:lnTo>
                  <a:pt x="932" y="128"/>
                </a:lnTo>
                <a:lnTo>
                  <a:pt x="949" y="129"/>
                </a:lnTo>
                <a:lnTo>
                  <a:pt x="962" y="132"/>
                </a:lnTo>
                <a:lnTo>
                  <a:pt x="975" y="136"/>
                </a:lnTo>
                <a:lnTo>
                  <a:pt x="986" y="140"/>
                </a:lnTo>
                <a:lnTo>
                  <a:pt x="993" y="147"/>
                </a:lnTo>
                <a:lnTo>
                  <a:pt x="998" y="154"/>
                </a:lnTo>
                <a:lnTo>
                  <a:pt x="1013" y="187"/>
                </a:lnTo>
                <a:lnTo>
                  <a:pt x="1073" y="209"/>
                </a:lnTo>
                <a:lnTo>
                  <a:pt x="1082" y="215"/>
                </a:lnTo>
                <a:lnTo>
                  <a:pt x="1092" y="220"/>
                </a:lnTo>
                <a:lnTo>
                  <a:pt x="1100" y="227"/>
                </a:lnTo>
                <a:lnTo>
                  <a:pt x="1108" y="235"/>
                </a:lnTo>
                <a:lnTo>
                  <a:pt x="1117" y="245"/>
                </a:lnTo>
                <a:lnTo>
                  <a:pt x="1123" y="255"/>
                </a:lnTo>
                <a:lnTo>
                  <a:pt x="1129" y="267"/>
                </a:lnTo>
                <a:lnTo>
                  <a:pt x="1136" y="278"/>
                </a:lnTo>
                <a:lnTo>
                  <a:pt x="1140" y="292"/>
                </a:lnTo>
                <a:lnTo>
                  <a:pt x="1144" y="306"/>
                </a:lnTo>
                <a:lnTo>
                  <a:pt x="1147" y="319"/>
                </a:lnTo>
                <a:lnTo>
                  <a:pt x="1150" y="333"/>
                </a:lnTo>
                <a:lnTo>
                  <a:pt x="1150" y="348"/>
                </a:lnTo>
                <a:lnTo>
                  <a:pt x="1150" y="364"/>
                </a:lnTo>
                <a:lnTo>
                  <a:pt x="1148" y="379"/>
                </a:lnTo>
                <a:lnTo>
                  <a:pt x="1147" y="394"/>
                </a:lnTo>
                <a:lnTo>
                  <a:pt x="1107" y="587"/>
                </a:lnTo>
                <a:lnTo>
                  <a:pt x="1103" y="614"/>
                </a:lnTo>
                <a:lnTo>
                  <a:pt x="1097" y="642"/>
                </a:lnTo>
                <a:lnTo>
                  <a:pt x="1090" y="669"/>
                </a:lnTo>
                <a:lnTo>
                  <a:pt x="1081" y="694"/>
                </a:lnTo>
                <a:lnTo>
                  <a:pt x="1068" y="719"/>
                </a:lnTo>
                <a:lnTo>
                  <a:pt x="1055" y="741"/>
                </a:lnTo>
                <a:lnTo>
                  <a:pt x="1039" y="763"/>
                </a:lnTo>
                <a:lnTo>
                  <a:pt x="1022" y="782"/>
                </a:lnTo>
                <a:lnTo>
                  <a:pt x="1004" y="800"/>
                </a:lnTo>
                <a:lnTo>
                  <a:pt x="983" y="817"/>
                </a:lnTo>
                <a:lnTo>
                  <a:pt x="962" y="830"/>
                </a:lnTo>
                <a:lnTo>
                  <a:pt x="939" y="841"/>
                </a:lnTo>
                <a:lnTo>
                  <a:pt x="916" y="851"/>
                </a:lnTo>
                <a:lnTo>
                  <a:pt x="891" y="858"/>
                </a:lnTo>
                <a:lnTo>
                  <a:pt x="865" y="862"/>
                </a:lnTo>
                <a:lnTo>
                  <a:pt x="837" y="863"/>
                </a:lnTo>
                <a:lnTo>
                  <a:pt x="811" y="862"/>
                </a:lnTo>
                <a:lnTo>
                  <a:pt x="786" y="858"/>
                </a:lnTo>
                <a:lnTo>
                  <a:pt x="761" y="851"/>
                </a:lnTo>
                <a:lnTo>
                  <a:pt x="738" y="843"/>
                </a:lnTo>
                <a:lnTo>
                  <a:pt x="716" y="832"/>
                </a:lnTo>
                <a:lnTo>
                  <a:pt x="695" y="818"/>
                </a:lnTo>
                <a:lnTo>
                  <a:pt x="675" y="803"/>
                </a:lnTo>
                <a:lnTo>
                  <a:pt x="657" y="786"/>
                </a:lnTo>
                <a:lnTo>
                  <a:pt x="639" y="767"/>
                </a:lnTo>
                <a:lnTo>
                  <a:pt x="624" y="746"/>
                </a:lnTo>
                <a:lnTo>
                  <a:pt x="610" y="724"/>
                </a:lnTo>
                <a:lnTo>
                  <a:pt x="598" y="701"/>
                </a:lnTo>
                <a:lnTo>
                  <a:pt x="588" y="676"/>
                </a:lnTo>
                <a:lnTo>
                  <a:pt x="580" y="651"/>
                </a:lnTo>
                <a:lnTo>
                  <a:pt x="574" y="625"/>
                </a:lnTo>
                <a:lnTo>
                  <a:pt x="570" y="598"/>
                </a:lnTo>
                <a:close/>
                <a:moveTo>
                  <a:pt x="2740" y="2532"/>
                </a:moveTo>
                <a:lnTo>
                  <a:pt x="2740" y="2532"/>
                </a:lnTo>
                <a:lnTo>
                  <a:pt x="2748" y="2534"/>
                </a:lnTo>
                <a:lnTo>
                  <a:pt x="2755" y="2535"/>
                </a:lnTo>
                <a:lnTo>
                  <a:pt x="2760" y="2539"/>
                </a:lnTo>
                <a:lnTo>
                  <a:pt x="2767" y="2543"/>
                </a:lnTo>
                <a:lnTo>
                  <a:pt x="2771" y="2549"/>
                </a:lnTo>
                <a:lnTo>
                  <a:pt x="2774" y="2556"/>
                </a:lnTo>
                <a:lnTo>
                  <a:pt x="2777" y="2563"/>
                </a:lnTo>
                <a:lnTo>
                  <a:pt x="2777" y="2571"/>
                </a:lnTo>
                <a:lnTo>
                  <a:pt x="2777" y="2578"/>
                </a:lnTo>
                <a:lnTo>
                  <a:pt x="2774" y="2585"/>
                </a:lnTo>
                <a:lnTo>
                  <a:pt x="2771" y="2591"/>
                </a:lnTo>
                <a:lnTo>
                  <a:pt x="2767" y="2597"/>
                </a:lnTo>
                <a:lnTo>
                  <a:pt x="2760" y="2601"/>
                </a:lnTo>
                <a:lnTo>
                  <a:pt x="2755" y="2605"/>
                </a:lnTo>
                <a:lnTo>
                  <a:pt x="2748" y="2607"/>
                </a:lnTo>
                <a:lnTo>
                  <a:pt x="2740" y="2608"/>
                </a:lnTo>
                <a:lnTo>
                  <a:pt x="2733" y="2607"/>
                </a:lnTo>
                <a:lnTo>
                  <a:pt x="2726" y="2605"/>
                </a:lnTo>
                <a:lnTo>
                  <a:pt x="2719" y="2601"/>
                </a:lnTo>
                <a:lnTo>
                  <a:pt x="2714" y="2597"/>
                </a:lnTo>
                <a:lnTo>
                  <a:pt x="2709" y="2591"/>
                </a:lnTo>
                <a:lnTo>
                  <a:pt x="2705" y="2585"/>
                </a:lnTo>
                <a:lnTo>
                  <a:pt x="2703" y="2578"/>
                </a:lnTo>
                <a:lnTo>
                  <a:pt x="2703" y="2571"/>
                </a:lnTo>
                <a:lnTo>
                  <a:pt x="2703" y="2563"/>
                </a:lnTo>
                <a:lnTo>
                  <a:pt x="2705" y="2556"/>
                </a:lnTo>
                <a:lnTo>
                  <a:pt x="2709" y="2549"/>
                </a:lnTo>
                <a:lnTo>
                  <a:pt x="2714" y="2543"/>
                </a:lnTo>
                <a:lnTo>
                  <a:pt x="2719" y="2539"/>
                </a:lnTo>
                <a:lnTo>
                  <a:pt x="2726" y="2535"/>
                </a:lnTo>
                <a:lnTo>
                  <a:pt x="2733" y="2534"/>
                </a:lnTo>
                <a:lnTo>
                  <a:pt x="2740" y="2532"/>
                </a:lnTo>
                <a:close/>
                <a:moveTo>
                  <a:pt x="1256" y="2571"/>
                </a:moveTo>
                <a:lnTo>
                  <a:pt x="1256" y="2571"/>
                </a:lnTo>
                <a:lnTo>
                  <a:pt x="1256" y="2578"/>
                </a:lnTo>
                <a:lnTo>
                  <a:pt x="1258" y="2585"/>
                </a:lnTo>
                <a:lnTo>
                  <a:pt x="1261" y="2591"/>
                </a:lnTo>
                <a:lnTo>
                  <a:pt x="1267" y="2597"/>
                </a:lnTo>
                <a:lnTo>
                  <a:pt x="1272" y="2601"/>
                </a:lnTo>
                <a:lnTo>
                  <a:pt x="1278" y="2605"/>
                </a:lnTo>
                <a:lnTo>
                  <a:pt x="1285" y="2607"/>
                </a:lnTo>
                <a:lnTo>
                  <a:pt x="1293" y="2608"/>
                </a:lnTo>
                <a:lnTo>
                  <a:pt x="1300" y="2607"/>
                </a:lnTo>
                <a:lnTo>
                  <a:pt x="1308" y="2605"/>
                </a:lnTo>
                <a:lnTo>
                  <a:pt x="1313" y="2601"/>
                </a:lnTo>
                <a:lnTo>
                  <a:pt x="1319" y="2597"/>
                </a:lnTo>
                <a:lnTo>
                  <a:pt x="1324" y="2591"/>
                </a:lnTo>
                <a:lnTo>
                  <a:pt x="1327" y="2585"/>
                </a:lnTo>
                <a:lnTo>
                  <a:pt x="1330" y="2578"/>
                </a:lnTo>
                <a:lnTo>
                  <a:pt x="1330" y="2571"/>
                </a:lnTo>
                <a:lnTo>
                  <a:pt x="1330" y="2563"/>
                </a:lnTo>
                <a:lnTo>
                  <a:pt x="1327" y="2556"/>
                </a:lnTo>
                <a:lnTo>
                  <a:pt x="1324" y="2549"/>
                </a:lnTo>
                <a:lnTo>
                  <a:pt x="1319" y="2543"/>
                </a:lnTo>
                <a:lnTo>
                  <a:pt x="1313" y="2539"/>
                </a:lnTo>
                <a:lnTo>
                  <a:pt x="1308" y="2535"/>
                </a:lnTo>
                <a:lnTo>
                  <a:pt x="1300" y="2534"/>
                </a:lnTo>
                <a:lnTo>
                  <a:pt x="1293" y="2532"/>
                </a:lnTo>
                <a:lnTo>
                  <a:pt x="1285" y="2534"/>
                </a:lnTo>
                <a:lnTo>
                  <a:pt x="1278" y="2535"/>
                </a:lnTo>
                <a:lnTo>
                  <a:pt x="1272" y="2539"/>
                </a:lnTo>
                <a:lnTo>
                  <a:pt x="1267" y="2543"/>
                </a:lnTo>
                <a:lnTo>
                  <a:pt x="1261" y="2549"/>
                </a:lnTo>
                <a:lnTo>
                  <a:pt x="1258" y="2556"/>
                </a:lnTo>
                <a:lnTo>
                  <a:pt x="1256" y="2563"/>
                </a:lnTo>
                <a:lnTo>
                  <a:pt x="1256" y="2571"/>
                </a:lnTo>
                <a:close/>
                <a:moveTo>
                  <a:pt x="1251" y="2704"/>
                </a:moveTo>
                <a:lnTo>
                  <a:pt x="1505" y="3027"/>
                </a:lnTo>
                <a:lnTo>
                  <a:pt x="1486" y="2704"/>
                </a:lnTo>
                <a:lnTo>
                  <a:pt x="1251" y="2704"/>
                </a:lnTo>
                <a:close/>
                <a:moveTo>
                  <a:pt x="2785" y="2704"/>
                </a:moveTo>
                <a:lnTo>
                  <a:pt x="2546" y="2704"/>
                </a:lnTo>
                <a:lnTo>
                  <a:pt x="2526" y="3034"/>
                </a:lnTo>
                <a:lnTo>
                  <a:pt x="2785" y="2704"/>
                </a:lnTo>
                <a:close/>
                <a:moveTo>
                  <a:pt x="3814" y="2411"/>
                </a:moveTo>
                <a:lnTo>
                  <a:pt x="3636" y="2411"/>
                </a:lnTo>
                <a:lnTo>
                  <a:pt x="3704" y="2710"/>
                </a:lnTo>
                <a:lnTo>
                  <a:pt x="3814" y="2412"/>
                </a:lnTo>
                <a:lnTo>
                  <a:pt x="3814" y="2411"/>
                </a:lnTo>
                <a:close/>
                <a:moveTo>
                  <a:pt x="3072" y="1142"/>
                </a:moveTo>
                <a:lnTo>
                  <a:pt x="2858" y="1197"/>
                </a:lnTo>
                <a:lnTo>
                  <a:pt x="2858" y="2601"/>
                </a:lnTo>
                <a:lnTo>
                  <a:pt x="2939" y="2200"/>
                </a:lnTo>
                <a:lnTo>
                  <a:pt x="3552" y="2200"/>
                </a:lnTo>
                <a:lnTo>
                  <a:pt x="3552" y="1625"/>
                </a:lnTo>
                <a:lnTo>
                  <a:pt x="3581" y="1462"/>
                </a:lnTo>
                <a:lnTo>
                  <a:pt x="3635" y="1472"/>
                </a:lnTo>
                <a:lnTo>
                  <a:pt x="3607" y="1630"/>
                </a:lnTo>
                <a:lnTo>
                  <a:pt x="3607" y="2278"/>
                </a:lnTo>
                <a:lnTo>
                  <a:pt x="3624" y="2356"/>
                </a:lnTo>
                <a:lnTo>
                  <a:pt x="3811" y="2356"/>
                </a:lnTo>
                <a:lnTo>
                  <a:pt x="3750" y="1301"/>
                </a:lnTo>
                <a:lnTo>
                  <a:pt x="3749" y="1287"/>
                </a:lnTo>
                <a:lnTo>
                  <a:pt x="3743" y="1275"/>
                </a:lnTo>
                <a:lnTo>
                  <a:pt x="3737" y="1263"/>
                </a:lnTo>
                <a:lnTo>
                  <a:pt x="3727" y="1250"/>
                </a:lnTo>
                <a:lnTo>
                  <a:pt x="3715" y="1239"/>
                </a:lnTo>
                <a:lnTo>
                  <a:pt x="3701" y="1230"/>
                </a:lnTo>
                <a:lnTo>
                  <a:pt x="3686" y="1220"/>
                </a:lnTo>
                <a:lnTo>
                  <a:pt x="3668" y="1213"/>
                </a:lnTo>
                <a:lnTo>
                  <a:pt x="3471" y="1142"/>
                </a:lnTo>
                <a:lnTo>
                  <a:pt x="3388" y="1471"/>
                </a:lnTo>
                <a:lnTo>
                  <a:pt x="3385" y="1483"/>
                </a:lnTo>
                <a:lnTo>
                  <a:pt x="3381" y="1494"/>
                </a:lnTo>
                <a:lnTo>
                  <a:pt x="3376" y="1504"/>
                </a:lnTo>
                <a:lnTo>
                  <a:pt x="3370" y="1513"/>
                </a:lnTo>
                <a:lnTo>
                  <a:pt x="3363" y="1522"/>
                </a:lnTo>
                <a:lnTo>
                  <a:pt x="3357" y="1530"/>
                </a:lnTo>
                <a:lnTo>
                  <a:pt x="3350" y="1537"/>
                </a:lnTo>
                <a:lnTo>
                  <a:pt x="3341" y="1542"/>
                </a:lnTo>
                <a:lnTo>
                  <a:pt x="3333" y="1548"/>
                </a:lnTo>
                <a:lnTo>
                  <a:pt x="3325" y="1552"/>
                </a:lnTo>
                <a:lnTo>
                  <a:pt x="3307" y="1559"/>
                </a:lnTo>
                <a:lnTo>
                  <a:pt x="3289" y="1562"/>
                </a:lnTo>
                <a:lnTo>
                  <a:pt x="3270" y="1562"/>
                </a:lnTo>
                <a:lnTo>
                  <a:pt x="3251" y="1560"/>
                </a:lnTo>
                <a:lnTo>
                  <a:pt x="3233" y="1555"/>
                </a:lnTo>
                <a:lnTo>
                  <a:pt x="3215" y="1546"/>
                </a:lnTo>
                <a:lnTo>
                  <a:pt x="3198" y="1537"/>
                </a:lnTo>
                <a:lnTo>
                  <a:pt x="3183" y="1523"/>
                </a:lnTo>
                <a:lnTo>
                  <a:pt x="3178" y="1516"/>
                </a:lnTo>
                <a:lnTo>
                  <a:pt x="3171" y="1508"/>
                </a:lnTo>
                <a:lnTo>
                  <a:pt x="3165" y="1500"/>
                </a:lnTo>
                <a:lnTo>
                  <a:pt x="3161" y="1491"/>
                </a:lnTo>
                <a:lnTo>
                  <a:pt x="3157" y="1482"/>
                </a:lnTo>
                <a:lnTo>
                  <a:pt x="3154" y="1471"/>
                </a:lnTo>
                <a:lnTo>
                  <a:pt x="3072" y="1142"/>
                </a:lnTo>
                <a:close/>
                <a:moveTo>
                  <a:pt x="114" y="2687"/>
                </a:moveTo>
                <a:lnTo>
                  <a:pt x="179" y="2687"/>
                </a:lnTo>
                <a:lnTo>
                  <a:pt x="346" y="2687"/>
                </a:lnTo>
                <a:lnTo>
                  <a:pt x="295" y="1435"/>
                </a:lnTo>
                <a:lnTo>
                  <a:pt x="350" y="1433"/>
                </a:lnTo>
                <a:lnTo>
                  <a:pt x="392" y="2458"/>
                </a:lnTo>
                <a:lnTo>
                  <a:pt x="1179" y="2458"/>
                </a:lnTo>
                <a:lnTo>
                  <a:pt x="1179" y="1078"/>
                </a:lnTo>
                <a:lnTo>
                  <a:pt x="1035" y="1040"/>
                </a:lnTo>
                <a:lnTo>
                  <a:pt x="1082" y="938"/>
                </a:lnTo>
                <a:lnTo>
                  <a:pt x="1212" y="975"/>
                </a:lnTo>
                <a:lnTo>
                  <a:pt x="1227" y="958"/>
                </a:lnTo>
                <a:lnTo>
                  <a:pt x="1243" y="945"/>
                </a:lnTo>
                <a:lnTo>
                  <a:pt x="1261" y="932"/>
                </a:lnTo>
                <a:lnTo>
                  <a:pt x="1282" y="920"/>
                </a:lnTo>
                <a:lnTo>
                  <a:pt x="1304" y="909"/>
                </a:lnTo>
                <a:lnTo>
                  <a:pt x="1327" y="899"/>
                </a:lnTo>
                <a:lnTo>
                  <a:pt x="1378" y="880"/>
                </a:lnTo>
                <a:lnTo>
                  <a:pt x="1777" y="735"/>
                </a:lnTo>
                <a:lnTo>
                  <a:pt x="1907" y="1502"/>
                </a:lnTo>
                <a:lnTo>
                  <a:pt x="1973" y="949"/>
                </a:lnTo>
                <a:lnTo>
                  <a:pt x="1956" y="940"/>
                </a:lnTo>
                <a:lnTo>
                  <a:pt x="1941" y="931"/>
                </a:lnTo>
                <a:lnTo>
                  <a:pt x="1929" y="918"/>
                </a:lnTo>
                <a:lnTo>
                  <a:pt x="1919" y="905"/>
                </a:lnTo>
                <a:lnTo>
                  <a:pt x="2018" y="810"/>
                </a:lnTo>
                <a:lnTo>
                  <a:pt x="2117" y="905"/>
                </a:lnTo>
                <a:lnTo>
                  <a:pt x="2108" y="918"/>
                </a:lnTo>
                <a:lnTo>
                  <a:pt x="2094" y="931"/>
                </a:lnTo>
                <a:lnTo>
                  <a:pt x="2080" y="940"/>
                </a:lnTo>
                <a:lnTo>
                  <a:pt x="2064" y="949"/>
                </a:lnTo>
                <a:lnTo>
                  <a:pt x="2130" y="1502"/>
                </a:lnTo>
                <a:lnTo>
                  <a:pt x="2259" y="735"/>
                </a:lnTo>
                <a:lnTo>
                  <a:pt x="2659" y="880"/>
                </a:lnTo>
                <a:lnTo>
                  <a:pt x="2698" y="895"/>
                </a:lnTo>
                <a:lnTo>
                  <a:pt x="2736" y="910"/>
                </a:lnTo>
                <a:lnTo>
                  <a:pt x="2754" y="920"/>
                </a:lnTo>
                <a:lnTo>
                  <a:pt x="2770" y="928"/>
                </a:lnTo>
                <a:lnTo>
                  <a:pt x="2785" y="938"/>
                </a:lnTo>
                <a:lnTo>
                  <a:pt x="2799" y="949"/>
                </a:lnTo>
                <a:lnTo>
                  <a:pt x="2811" y="960"/>
                </a:lnTo>
                <a:lnTo>
                  <a:pt x="2824" y="972"/>
                </a:lnTo>
                <a:lnTo>
                  <a:pt x="2833" y="986"/>
                </a:lnTo>
                <a:lnTo>
                  <a:pt x="2842" y="1001"/>
                </a:lnTo>
                <a:lnTo>
                  <a:pt x="2849" y="1018"/>
                </a:lnTo>
                <a:lnTo>
                  <a:pt x="2854" y="1034"/>
                </a:lnTo>
                <a:lnTo>
                  <a:pt x="2857" y="1053"/>
                </a:lnTo>
                <a:lnTo>
                  <a:pt x="2858" y="1074"/>
                </a:lnTo>
                <a:lnTo>
                  <a:pt x="2858" y="1084"/>
                </a:lnTo>
                <a:lnTo>
                  <a:pt x="3098" y="1022"/>
                </a:lnTo>
                <a:lnTo>
                  <a:pt x="3208" y="1458"/>
                </a:lnTo>
                <a:lnTo>
                  <a:pt x="3212" y="1468"/>
                </a:lnTo>
                <a:lnTo>
                  <a:pt x="3218" y="1478"/>
                </a:lnTo>
                <a:lnTo>
                  <a:pt x="3224" y="1484"/>
                </a:lnTo>
                <a:lnTo>
                  <a:pt x="3231" y="1491"/>
                </a:lnTo>
                <a:lnTo>
                  <a:pt x="3241" y="1495"/>
                </a:lnTo>
                <a:lnTo>
                  <a:pt x="3251" y="1500"/>
                </a:lnTo>
                <a:lnTo>
                  <a:pt x="3262" y="1501"/>
                </a:lnTo>
                <a:lnTo>
                  <a:pt x="3271" y="1502"/>
                </a:lnTo>
                <a:lnTo>
                  <a:pt x="3282" y="1501"/>
                </a:lnTo>
                <a:lnTo>
                  <a:pt x="3292" y="1500"/>
                </a:lnTo>
                <a:lnTo>
                  <a:pt x="3301" y="1495"/>
                </a:lnTo>
                <a:lnTo>
                  <a:pt x="3311" y="1491"/>
                </a:lnTo>
                <a:lnTo>
                  <a:pt x="3319" y="1484"/>
                </a:lnTo>
                <a:lnTo>
                  <a:pt x="3326" y="1478"/>
                </a:lnTo>
                <a:lnTo>
                  <a:pt x="3332" y="1468"/>
                </a:lnTo>
                <a:lnTo>
                  <a:pt x="3335" y="1458"/>
                </a:lnTo>
                <a:lnTo>
                  <a:pt x="3446" y="1016"/>
                </a:lnTo>
                <a:lnTo>
                  <a:pt x="3719" y="1115"/>
                </a:lnTo>
                <a:lnTo>
                  <a:pt x="3732" y="1121"/>
                </a:lnTo>
                <a:lnTo>
                  <a:pt x="3748" y="1128"/>
                </a:lnTo>
                <a:lnTo>
                  <a:pt x="3761" y="1136"/>
                </a:lnTo>
                <a:lnTo>
                  <a:pt x="3774" y="1144"/>
                </a:lnTo>
                <a:lnTo>
                  <a:pt x="3786" y="1154"/>
                </a:lnTo>
                <a:lnTo>
                  <a:pt x="3797" y="1164"/>
                </a:lnTo>
                <a:lnTo>
                  <a:pt x="3808" y="1173"/>
                </a:lnTo>
                <a:lnTo>
                  <a:pt x="3818" y="1186"/>
                </a:lnTo>
                <a:lnTo>
                  <a:pt x="3826" y="1197"/>
                </a:lnTo>
                <a:lnTo>
                  <a:pt x="3834" y="1209"/>
                </a:lnTo>
                <a:lnTo>
                  <a:pt x="3841" y="1223"/>
                </a:lnTo>
                <a:lnTo>
                  <a:pt x="3848" y="1235"/>
                </a:lnTo>
                <a:lnTo>
                  <a:pt x="3852" y="1250"/>
                </a:lnTo>
                <a:lnTo>
                  <a:pt x="3856" y="1264"/>
                </a:lnTo>
                <a:lnTo>
                  <a:pt x="3859" y="1279"/>
                </a:lnTo>
                <a:lnTo>
                  <a:pt x="3860" y="1294"/>
                </a:lnTo>
                <a:lnTo>
                  <a:pt x="3925" y="2429"/>
                </a:lnTo>
                <a:lnTo>
                  <a:pt x="3796" y="2777"/>
                </a:lnTo>
                <a:lnTo>
                  <a:pt x="3994" y="3791"/>
                </a:lnTo>
                <a:lnTo>
                  <a:pt x="3943" y="3791"/>
                </a:lnTo>
                <a:lnTo>
                  <a:pt x="3657" y="3791"/>
                </a:lnTo>
                <a:lnTo>
                  <a:pt x="3529" y="4711"/>
                </a:lnTo>
                <a:lnTo>
                  <a:pt x="3417" y="4711"/>
                </a:lnTo>
                <a:lnTo>
                  <a:pt x="3545" y="3791"/>
                </a:lnTo>
                <a:lnTo>
                  <a:pt x="3304" y="3791"/>
                </a:lnTo>
                <a:lnTo>
                  <a:pt x="3299" y="4711"/>
                </a:lnTo>
                <a:lnTo>
                  <a:pt x="3244" y="4711"/>
                </a:lnTo>
                <a:lnTo>
                  <a:pt x="3249" y="3791"/>
                </a:lnTo>
                <a:lnTo>
                  <a:pt x="2970" y="3791"/>
                </a:lnTo>
                <a:lnTo>
                  <a:pt x="3098" y="4711"/>
                </a:lnTo>
                <a:lnTo>
                  <a:pt x="3043" y="4711"/>
                </a:lnTo>
                <a:lnTo>
                  <a:pt x="2915" y="3791"/>
                </a:lnTo>
                <a:lnTo>
                  <a:pt x="2613" y="3791"/>
                </a:lnTo>
                <a:lnTo>
                  <a:pt x="2829" y="2740"/>
                </a:lnTo>
                <a:lnTo>
                  <a:pt x="2519" y="3130"/>
                </a:lnTo>
                <a:lnTo>
                  <a:pt x="2424" y="4704"/>
                </a:lnTo>
                <a:lnTo>
                  <a:pt x="2043" y="4704"/>
                </a:lnTo>
                <a:lnTo>
                  <a:pt x="2043" y="2839"/>
                </a:lnTo>
                <a:lnTo>
                  <a:pt x="1988" y="2839"/>
                </a:lnTo>
                <a:lnTo>
                  <a:pt x="1988" y="4704"/>
                </a:lnTo>
                <a:lnTo>
                  <a:pt x="1607" y="4704"/>
                </a:lnTo>
                <a:lnTo>
                  <a:pt x="1512" y="3123"/>
                </a:lnTo>
                <a:lnTo>
                  <a:pt x="1348" y="2916"/>
                </a:lnTo>
                <a:lnTo>
                  <a:pt x="1231" y="4700"/>
                </a:lnTo>
                <a:lnTo>
                  <a:pt x="865" y="4700"/>
                </a:lnTo>
                <a:lnTo>
                  <a:pt x="865" y="2839"/>
                </a:lnTo>
                <a:lnTo>
                  <a:pt x="810" y="2839"/>
                </a:lnTo>
                <a:lnTo>
                  <a:pt x="810" y="4700"/>
                </a:lnTo>
                <a:lnTo>
                  <a:pt x="423" y="4700"/>
                </a:lnTo>
                <a:lnTo>
                  <a:pt x="304" y="3207"/>
                </a:lnTo>
                <a:lnTo>
                  <a:pt x="112" y="2797"/>
                </a:lnTo>
                <a:lnTo>
                  <a:pt x="0" y="2797"/>
                </a:lnTo>
                <a:lnTo>
                  <a:pt x="52" y="1274"/>
                </a:lnTo>
                <a:lnTo>
                  <a:pt x="54" y="1257"/>
                </a:lnTo>
                <a:lnTo>
                  <a:pt x="56" y="1242"/>
                </a:lnTo>
                <a:lnTo>
                  <a:pt x="59" y="1227"/>
                </a:lnTo>
                <a:lnTo>
                  <a:pt x="65" y="1212"/>
                </a:lnTo>
                <a:lnTo>
                  <a:pt x="70" y="1197"/>
                </a:lnTo>
                <a:lnTo>
                  <a:pt x="78" y="1183"/>
                </a:lnTo>
                <a:lnTo>
                  <a:pt x="87" y="1169"/>
                </a:lnTo>
                <a:lnTo>
                  <a:pt x="95" y="1157"/>
                </a:lnTo>
                <a:lnTo>
                  <a:pt x="106" y="1144"/>
                </a:lnTo>
                <a:lnTo>
                  <a:pt x="117" y="1133"/>
                </a:lnTo>
                <a:lnTo>
                  <a:pt x="128" y="1122"/>
                </a:lnTo>
                <a:lnTo>
                  <a:pt x="140" y="1113"/>
                </a:lnTo>
                <a:lnTo>
                  <a:pt x="154" y="1103"/>
                </a:lnTo>
                <a:lnTo>
                  <a:pt x="168" y="1096"/>
                </a:lnTo>
                <a:lnTo>
                  <a:pt x="183" y="1089"/>
                </a:lnTo>
                <a:lnTo>
                  <a:pt x="198" y="1084"/>
                </a:lnTo>
                <a:lnTo>
                  <a:pt x="596" y="951"/>
                </a:lnTo>
                <a:lnTo>
                  <a:pt x="643" y="1052"/>
                </a:lnTo>
                <a:lnTo>
                  <a:pt x="233" y="1188"/>
                </a:lnTo>
                <a:lnTo>
                  <a:pt x="218" y="1194"/>
                </a:lnTo>
                <a:lnTo>
                  <a:pt x="205" y="1202"/>
                </a:lnTo>
                <a:lnTo>
                  <a:pt x="193" y="1212"/>
                </a:lnTo>
                <a:lnTo>
                  <a:pt x="183" y="1224"/>
                </a:lnTo>
                <a:lnTo>
                  <a:pt x="175" y="1237"/>
                </a:lnTo>
                <a:lnTo>
                  <a:pt x="168" y="1249"/>
                </a:lnTo>
                <a:lnTo>
                  <a:pt x="164" y="1263"/>
                </a:lnTo>
                <a:lnTo>
                  <a:pt x="162" y="1278"/>
                </a:lnTo>
                <a:lnTo>
                  <a:pt x="114" y="2687"/>
                </a:lnTo>
                <a:close/>
                <a:moveTo>
                  <a:pt x="348" y="2742"/>
                </a:moveTo>
                <a:lnTo>
                  <a:pt x="205" y="2742"/>
                </a:lnTo>
                <a:lnTo>
                  <a:pt x="362" y="3069"/>
                </a:lnTo>
                <a:lnTo>
                  <a:pt x="348" y="2742"/>
                </a:lnTo>
                <a:close/>
                <a:moveTo>
                  <a:pt x="2211" y="209"/>
                </a:moveTo>
                <a:lnTo>
                  <a:pt x="2211" y="209"/>
                </a:lnTo>
                <a:lnTo>
                  <a:pt x="2206" y="194"/>
                </a:lnTo>
                <a:lnTo>
                  <a:pt x="2197" y="180"/>
                </a:lnTo>
                <a:lnTo>
                  <a:pt x="2188" y="167"/>
                </a:lnTo>
                <a:lnTo>
                  <a:pt x="2178" y="154"/>
                </a:lnTo>
                <a:lnTo>
                  <a:pt x="2168" y="143"/>
                </a:lnTo>
                <a:lnTo>
                  <a:pt x="2156" y="134"/>
                </a:lnTo>
                <a:lnTo>
                  <a:pt x="2145" y="125"/>
                </a:lnTo>
                <a:lnTo>
                  <a:pt x="2133" y="117"/>
                </a:lnTo>
                <a:lnTo>
                  <a:pt x="2122" y="132"/>
                </a:lnTo>
                <a:lnTo>
                  <a:pt x="2108" y="146"/>
                </a:lnTo>
                <a:lnTo>
                  <a:pt x="2094" y="158"/>
                </a:lnTo>
                <a:lnTo>
                  <a:pt x="2079" y="168"/>
                </a:lnTo>
                <a:lnTo>
                  <a:pt x="2064" y="176"/>
                </a:lnTo>
                <a:lnTo>
                  <a:pt x="2046" y="183"/>
                </a:lnTo>
                <a:lnTo>
                  <a:pt x="2029" y="186"/>
                </a:lnTo>
                <a:lnTo>
                  <a:pt x="2010" y="187"/>
                </a:lnTo>
                <a:lnTo>
                  <a:pt x="1992" y="186"/>
                </a:lnTo>
                <a:lnTo>
                  <a:pt x="1976" y="183"/>
                </a:lnTo>
                <a:lnTo>
                  <a:pt x="1959" y="178"/>
                </a:lnTo>
                <a:lnTo>
                  <a:pt x="1944" y="169"/>
                </a:lnTo>
                <a:lnTo>
                  <a:pt x="1929" y="160"/>
                </a:lnTo>
                <a:lnTo>
                  <a:pt x="1915" y="149"/>
                </a:lnTo>
                <a:lnTo>
                  <a:pt x="1903" y="136"/>
                </a:lnTo>
                <a:lnTo>
                  <a:pt x="1892" y="123"/>
                </a:lnTo>
                <a:lnTo>
                  <a:pt x="1881" y="129"/>
                </a:lnTo>
                <a:lnTo>
                  <a:pt x="1870" y="138"/>
                </a:lnTo>
                <a:lnTo>
                  <a:pt x="1859" y="147"/>
                </a:lnTo>
                <a:lnTo>
                  <a:pt x="1849" y="158"/>
                </a:lnTo>
                <a:lnTo>
                  <a:pt x="1841" y="171"/>
                </a:lnTo>
                <a:lnTo>
                  <a:pt x="1832" y="183"/>
                </a:lnTo>
                <a:lnTo>
                  <a:pt x="1826" y="197"/>
                </a:lnTo>
                <a:lnTo>
                  <a:pt x="1819" y="211"/>
                </a:lnTo>
                <a:lnTo>
                  <a:pt x="1815" y="227"/>
                </a:lnTo>
                <a:lnTo>
                  <a:pt x="1810" y="242"/>
                </a:lnTo>
                <a:lnTo>
                  <a:pt x="1808" y="259"/>
                </a:lnTo>
                <a:lnTo>
                  <a:pt x="1806" y="277"/>
                </a:lnTo>
                <a:lnTo>
                  <a:pt x="1806" y="365"/>
                </a:lnTo>
                <a:lnTo>
                  <a:pt x="1808" y="390"/>
                </a:lnTo>
                <a:lnTo>
                  <a:pt x="1810" y="414"/>
                </a:lnTo>
                <a:lnTo>
                  <a:pt x="1816" y="437"/>
                </a:lnTo>
                <a:lnTo>
                  <a:pt x="1823" y="460"/>
                </a:lnTo>
                <a:lnTo>
                  <a:pt x="1832" y="481"/>
                </a:lnTo>
                <a:lnTo>
                  <a:pt x="1842" y="500"/>
                </a:lnTo>
                <a:lnTo>
                  <a:pt x="1855" y="519"/>
                </a:lnTo>
                <a:lnTo>
                  <a:pt x="1868" y="536"/>
                </a:lnTo>
                <a:lnTo>
                  <a:pt x="1883" y="551"/>
                </a:lnTo>
                <a:lnTo>
                  <a:pt x="1900" y="565"/>
                </a:lnTo>
                <a:lnTo>
                  <a:pt x="1916" y="576"/>
                </a:lnTo>
                <a:lnTo>
                  <a:pt x="1936" y="587"/>
                </a:lnTo>
                <a:lnTo>
                  <a:pt x="1955" y="593"/>
                </a:lnTo>
                <a:lnTo>
                  <a:pt x="1974" y="599"/>
                </a:lnTo>
                <a:lnTo>
                  <a:pt x="1995" y="603"/>
                </a:lnTo>
                <a:lnTo>
                  <a:pt x="2016" y="604"/>
                </a:lnTo>
                <a:lnTo>
                  <a:pt x="2036" y="603"/>
                </a:lnTo>
                <a:lnTo>
                  <a:pt x="2057" y="599"/>
                </a:lnTo>
                <a:lnTo>
                  <a:pt x="2076" y="593"/>
                </a:lnTo>
                <a:lnTo>
                  <a:pt x="2095" y="587"/>
                </a:lnTo>
                <a:lnTo>
                  <a:pt x="2115" y="576"/>
                </a:lnTo>
                <a:lnTo>
                  <a:pt x="2131" y="565"/>
                </a:lnTo>
                <a:lnTo>
                  <a:pt x="2148" y="551"/>
                </a:lnTo>
                <a:lnTo>
                  <a:pt x="2163" y="536"/>
                </a:lnTo>
                <a:lnTo>
                  <a:pt x="2177" y="519"/>
                </a:lnTo>
                <a:lnTo>
                  <a:pt x="2189" y="500"/>
                </a:lnTo>
                <a:lnTo>
                  <a:pt x="2199" y="481"/>
                </a:lnTo>
                <a:lnTo>
                  <a:pt x="2208" y="460"/>
                </a:lnTo>
                <a:lnTo>
                  <a:pt x="2215" y="437"/>
                </a:lnTo>
                <a:lnTo>
                  <a:pt x="2221" y="414"/>
                </a:lnTo>
                <a:lnTo>
                  <a:pt x="2223" y="390"/>
                </a:lnTo>
                <a:lnTo>
                  <a:pt x="2225" y="365"/>
                </a:lnTo>
                <a:lnTo>
                  <a:pt x="2225" y="281"/>
                </a:lnTo>
                <a:lnTo>
                  <a:pt x="2223" y="262"/>
                </a:lnTo>
                <a:lnTo>
                  <a:pt x="2221" y="244"/>
                </a:lnTo>
                <a:lnTo>
                  <a:pt x="2217" y="226"/>
                </a:lnTo>
                <a:lnTo>
                  <a:pt x="2211" y="209"/>
                </a:lnTo>
                <a:close/>
                <a:moveTo>
                  <a:pt x="2016" y="0"/>
                </a:moveTo>
                <a:lnTo>
                  <a:pt x="2016" y="0"/>
                </a:lnTo>
                <a:lnTo>
                  <a:pt x="2043" y="1"/>
                </a:lnTo>
                <a:lnTo>
                  <a:pt x="2069" y="6"/>
                </a:lnTo>
                <a:lnTo>
                  <a:pt x="2095" y="14"/>
                </a:lnTo>
                <a:lnTo>
                  <a:pt x="2120" y="23"/>
                </a:lnTo>
                <a:lnTo>
                  <a:pt x="2144" y="36"/>
                </a:lnTo>
                <a:lnTo>
                  <a:pt x="2164" y="51"/>
                </a:lnTo>
                <a:lnTo>
                  <a:pt x="2185" y="67"/>
                </a:lnTo>
                <a:lnTo>
                  <a:pt x="2204" y="87"/>
                </a:lnTo>
                <a:lnTo>
                  <a:pt x="2221" y="109"/>
                </a:lnTo>
                <a:lnTo>
                  <a:pt x="2236" y="131"/>
                </a:lnTo>
                <a:lnTo>
                  <a:pt x="2248" y="156"/>
                </a:lnTo>
                <a:lnTo>
                  <a:pt x="2259" y="182"/>
                </a:lnTo>
                <a:lnTo>
                  <a:pt x="2269" y="208"/>
                </a:lnTo>
                <a:lnTo>
                  <a:pt x="2274" y="235"/>
                </a:lnTo>
                <a:lnTo>
                  <a:pt x="2279" y="264"/>
                </a:lnTo>
                <a:lnTo>
                  <a:pt x="2280" y="295"/>
                </a:lnTo>
                <a:lnTo>
                  <a:pt x="2280" y="365"/>
                </a:lnTo>
                <a:lnTo>
                  <a:pt x="2279" y="394"/>
                </a:lnTo>
                <a:lnTo>
                  <a:pt x="2274" y="423"/>
                </a:lnTo>
                <a:lnTo>
                  <a:pt x="2269" y="452"/>
                </a:lnTo>
                <a:lnTo>
                  <a:pt x="2259" y="478"/>
                </a:lnTo>
                <a:lnTo>
                  <a:pt x="2248" y="504"/>
                </a:lnTo>
                <a:lnTo>
                  <a:pt x="2236" y="527"/>
                </a:lnTo>
                <a:lnTo>
                  <a:pt x="2221" y="551"/>
                </a:lnTo>
                <a:lnTo>
                  <a:pt x="2204" y="571"/>
                </a:lnTo>
                <a:lnTo>
                  <a:pt x="2185" y="591"/>
                </a:lnTo>
                <a:lnTo>
                  <a:pt x="2164" y="609"/>
                </a:lnTo>
                <a:lnTo>
                  <a:pt x="2144" y="624"/>
                </a:lnTo>
                <a:lnTo>
                  <a:pt x="2120" y="636"/>
                </a:lnTo>
                <a:lnTo>
                  <a:pt x="2095" y="646"/>
                </a:lnTo>
                <a:lnTo>
                  <a:pt x="2069" y="653"/>
                </a:lnTo>
                <a:lnTo>
                  <a:pt x="2043" y="658"/>
                </a:lnTo>
                <a:lnTo>
                  <a:pt x="2016" y="660"/>
                </a:lnTo>
                <a:lnTo>
                  <a:pt x="1988" y="658"/>
                </a:lnTo>
                <a:lnTo>
                  <a:pt x="1962" y="653"/>
                </a:lnTo>
                <a:lnTo>
                  <a:pt x="1936" y="646"/>
                </a:lnTo>
                <a:lnTo>
                  <a:pt x="1911" y="636"/>
                </a:lnTo>
                <a:lnTo>
                  <a:pt x="1888" y="624"/>
                </a:lnTo>
                <a:lnTo>
                  <a:pt x="1867" y="609"/>
                </a:lnTo>
                <a:lnTo>
                  <a:pt x="1846" y="591"/>
                </a:lnTo>
                <a:lnTo>
                  <a:pt x="1827" y="571"/>
                </a:lnTo>
                <a:lnTo>
                  <a:pt x="1810" y="551"/>
                </a:lnTo>
                <a:lnTo>
                  <a:pt x="1795" y="527"/>
                </a:lnTo>
                <a:lnTo>
                  <a:pt x="1783" y="504"/>
                </a:lnTo>
                <a:lnTo>
                  <a:pt x="1772" y="478"/>
                </a:lnTo>
                <a:lnTo>
                  <a:pt x="1762" y="452"/>
                </a:lnTo>
                <a:lnTo>
                  <a:pt x="1757" y="423"/>
                </a:lnTo>
                <a:lnTo>
                  <a:pt x="1753" y="394"/>
                </a:lnTo>
                <a:lnTo>
                  <a:pt x="1751" y="365"/>
                </a:lnTo>
                <a:lnTo>
                  <a:pt x="1751" y="295"/>
                </a:lnTo>
                <a:lnTo>
                  <a:pt x="1753" y="264"/>
                </a:lnTo>
                <a:lnTo>
                  <a:pt x="1757" y="235"/>
                </a:lnTo>
                <a:lnTo>
                  <a:pt x="1762" y="208"/>
                </a:lnTo>
                <a:lnTo>
                  <a:pt x="1772" y="182"/>
                </a:lnTo>
                <a:lnTo>
                  <a:pt x="1783" y="156"/>
                </a:lnTo>
                <a:lnTo>
                  <a:pt x="1795" y="131"/>
                </a:lnTo>
                <a:lnTo>
                  <a:pt x="1810" y="109"/>
                </a:lnTo>
                <a:lnTo>
                  <a:pt x="1827" y="87"/>
                </a:lnTo>
                <a:lnTo>
                  <a:pt x="1846" y="67"/>
                </a:lnTo>
                <a:lnTo>
                  <a:pt x="1867" y="51"/>
                </a:lnTo>
                <a:lnTo>
                  <a:pt x="1888" y="36"/>
                </a:lnTo>
                <a:lnTo>
                  <a:pt x="1911" y="23"/>
                </a:lnTo>
                <a:lnTo>
                  <a:pt x="1936" y="14"/>
                </a:lnTo>
                <a:lnTo>
                  <a:pt x="1962" y="6"/>
                </a:lnTo>
                <a:lnTo>
                  <a:pt x="1988" y="1"/>
                </a:lnTo>
                <a:lnTo>
                  <a:pt x="2016" y="0"/>
                </a:lnTo>
                <a:close/>
                <a:moveTo>
                  <a:pt x="3508" y="792"/>
                </a:moveTo>
                <a:lnTo>
                  <a:pt x="3508" y="792"/>
                </a:lnTo>
                <a:lnTo>
                  <a:pt x="3526" y="800"/>
                </a:lnTo>
                <a:lnTo>
                  <a:pt x="3547" y="806"/>
                </a:lnTo>
                <a:lnTo>
                  <a:pt x="3567" y="808"/>
                </a:lnTo>
                <a:lnTo>
                  <a:pt x="3588" y="808"/>
                </a:lnTo>
                <a:lnTo>
                  <a:pt x="3591" y="807"/>
                </a:lnTo>
                <a:lnTo>
                  <a:pt x="3588" y="819"/>
                </a:lnTo>
                <a:lnTo>
                  <a:pt x="3585" y="830"/>
                </a:lnTo>
                <a:lnTo>
                  <a:pt x="3581" y="841"/>
                </a:lnTo>
                <a:lnTo>
                  <a:pt x="3577" y="852"/>
                </a:lnTo>
                <a:lnTo>
                  <a:pt x="3571" y="862"/>
                </a:lnTo>
                <a:lnTo>
                  <a:pt x="3564" y="872"/>
                </a:lnTo>
                <a:lnTo>
                  <a:pt x="3558" y="881"/>
                </a:lnTo>
                <a:lnTo>
                  <a:pt x="3549" y="890"/>
                </a:lnTo>
                <a:lnTo>
                  <a:pt x="3541" y="896"/>
                </a:lnTo>
                <a:lnTo>
                  <a:pt x="3533" y="903"/>
                </a:lnTo>
                <a:lnTo>
                  <a:pt x="3523" y="910"/>
                </a:lnTo>
                <a:lnTo>
                  <a:pt x="3512" y="914"/>
                </a:lnTo>
                <a:lnTo>
                  <a:pt x="3501" y="920"/>
                </a:lnTo>
                <a:lnTo>
                  <a:pt x="3490" y="923"/>
                </a:lnTo>
                <a:lnTo>
                  <a:pt x="3479" y="925"/>
                </a:lnTo>
                <a:lnTo>
                  <a:pt x="3467" y="927"/>
                </a:lnTo>
                <a:lnTo>
                  <a:pt x="3446" y="927"/>
                </a:lnTo>
                <a:lnTo>
                  <a:pt x="3425" y="924"/>
                </a:lnTo>
                <a:lnTo>
                  <a:pt x="3406" y="920"/>
                </a:lnTo>
                <a:lnTo>
                  <a:pt x="3388" y="912"/>
                </a:lnTo>
                <a:lnTo>
                  <a:pt x="3374" y="920"/>
                </a:lnTo>
                <a:lnTo>
                  <a:pt x="3359" y="927"/>
                </a:lnTo>
                <a:lnTo>
                  <a:pt x="3346" y="934"/>
                </a:lnTo>
                <a:lnTo>
                  <a:pt x="3329" y="938"/>
                </a:lnTo>
                <a:lnTo>
                  <a:pt x="3314" y="942"/>
                </a:lnTo>
                <a:lnTo>
                  <a:pt x="3297" y="945"/>
                </a:lnTo>
                <a:lnTo>
                  <a:pt x="3281" y="947"/>
                </a:lnTo>
                <a:lnTo>
                  <a:pt x="3264" y="947"/>
                </a:lnTo>
                <a:lnTo>
                  <a:pt x="3248" y="947"/>
                </a:lnTo>
                <a:lnTo>
                  <a:pt x="3231" y="945"/>
                </a:lnTo>
                <a:lnTo>
                  <a:pt x="3215" y="942"/>
                </a:lnTo>
                <a:lnTo>
                  <a:pt x="3200" y="938"/>
                </a:lnTo>
                <a:lnTo>
                  <a:pt x="3184" y="934"/>
                </a:lnTo>
                <a:lnTo>
                  <a:pt x="3169" y="927"/>
                </a:lnTo>
                <a:lnTo>
                  <a:pt x="3154" y="920"/>
                </a:lnTo>
                <a:lnTo>
                  <a:pt x="3140" y="912"/>
                </a:lnTo>
                <a:lnTo>
                  <a:pt x="3123" y="920"/>
                </a:lnTo>
                <a:lnTo>
                  <a:pt x="3103" y="924"/>
                </a:lnTo>
                <a:lnTo>
                  <a:pt x="3083" y="927"/>
                </a:lnTo>
                <a:lnTo>
                  <a:pt x="3063" y="927"/>
                </a:lnTo>
                <a:lnTo>
                  <a:pt x="3051" y="925"/>
                </a:lnTo>
                <a:lnTo>
                  <a:pt x="3039" y="923"/>
                </a:lnTo>
                <a:lnTo>
                  <a:pt x="3028" y="920"/>
                </a:lnTo>
                <a:lnTo>
                  <a:pt x="3016" y="914"/>
                </a:lnTo>
                <a:lnTo>
                  <a:pt x="3007" y="910"/>
                </a:lnTo>
                <a:lnTo>
                  <a:pt x="2997" y="903"/>
                </a:lnTo>
                <a:lnTo>
                  <a:pt x="2988" y="896"/>
                </a:lnTo>
                <a:lnTo>
                  <a:pt x="2979" y="890"/>
                </a:lnTo>
                <a:lnTo>
                  <a:pt x="2971" y="881"/>
                </a:lnTo>
                <a:lnTo>
                  <a:pt x="2964" y="872"/>
                </a:lnTo>
                <a:lnTo>
                  <a:pt x="2957" y="862"/>
                </a:lnTo>
                <a:lnTo>
                  <a:pt x="2952" y="852"/>
                </a:lnTo>
                <a:lnTo>
                  <a:pt x="2948" y="841"/>
                </a:lnTo>
                <a:lnTo>
                  <a:pt x="2944" y="830"/>
                </a:lnTo>
                <a:lnTo>
                  <a:pt x="2941" y="819"/>
                </a:lnTo>
                <a:lnTo>
                  <a:pt x="2939" y="807"/>
                </a:lnTo>
                <a:lnTo>
                  <a:pt x="2941" y="808"/>
                </a:lnTo>
                <a:lnTo>
                  <a:pt x="2963" y="808"/>
                </a:lnTo>
                <a:lnTo>
                  <a:pt x="2982" y="806"/>
                </a:lnTo>
                <a:lnTo>
                  <a:pt x="3003" y="800"/>
                </a:lnTo>
                <a:lnTo>
                  <a:pt x="3022" y="792"/>
                </a:lnTo>
                <a:lnTo>
                  <a:pt x="3012" y="777"/>
                </a:lnTo>
                <a:lnTo>
                  <a:pt x="3004" y="761"/>
                </a:lnTo>
                <a:lnTo>
                  <a:pt x="2997" y="745"/>
                </a:lnTo>
                <a:lnTo>
                  <a:pt x="2992" y="726"/>
                </a:lnTo>
                <a:lnTo>
                  <a:pt x="2988" y="706"/>
                </a:lnTo>
                <a:lnTo>
                  <a:pt x="2983" y="687"/>
                </a:lnTo>
                <a:lnTo>
                  <a:pt x="2982" y="665"/>
                </a:lnTo>
                <a:lnTo>
                  <a:pt x="2981" y="642"/>
                </a:lnTo>
                <a:lnTo>
                  <a:pt x="2981" y="574"/>
                </a:lnTo>
                <a:lnTo>
                  <a:pt x="2982" y="541"/>
                </a:lnTo>
                <a:lnTo>
                  <a:pt x="2986" y="508"/>
                </a:lnTo>
                <a:lnTo>
                  <a:pt x="2993" y="475"/>
                </a:lnTo>
                <a:lnTo>
                  <a:pt x="3003" y="445"/>
                </a:lnTo>
                <a:lnTo>
                  <a:pt x="3014" y="414"/>
                </a:lnTo>
                <a:lnTo>
                  <a:pt x="3028" y="387"/>
                </a:lnTo>
                <a:lnTo>
                  <a:pt x="3044" y="361"/>
                </a:lnTo>
                <a:lnTo>
                  <a:pt x="3062" y="336"/>
                </a:lnTo>
                <a:lnTo>
                  <a:pt x="3083" y="314"/>
                </a:lnTo>
                <a:lnTo>
                  <a:pt x="3103" y="293"/>
                </a:lnTo>
                <a:lnTo>
                  <a:pt x="3127" y="275"/>
                </a:lnTo>
                <a:lnTo>
                  <a:pt x="3151" y="262"/>
                </a:lnTo>
                <a:lnTo>
                  <a:pt x="3165" y="255"/>
                </a:lnTo>
                <a:lnTo>
                  <a:pt x="3178" y="249"/>
                </a:lnTo>
                <a:lnTo>
                  <a:pt x="3191" y="245"/>
                </a:lnTo>
                <a:lnTo>
                  <a:pt x="3205" y="241"/>
                </a:lnTo>
                <a:lnTo>
                  <a:pt x="3220" y="237"/>
                </a:lnTo>
                <a:lnTo>
                  <a:pt x="3234" y="235"/>
                </a:lnTo>
                <a:lnTo>
                  <a:pt x="3249" y="234"/>
                </a:lnTo>
                <a:lnTo>
                  <a:pt x="3264" y="233"/>
                </a:lnTo>
                <a:lnTo>
                  <a:pt x="3279" y="234"/>
                </a:lnTo>
                <a:lnTo>
                  <a:pt x="3295" y="235"/>
                </a:lnTo>
                <a:lnTo>
                  <a:pt x="3308" y="237"/>
                </a:lnTo>
                <a:lnTo>
                  <a:pt x="3324" y="241"/>
                </a:lnTo>
                <a:lnTo>
                  <a:pt x="3337" y="245"/>
                </a:lnTo>
                <a:lnTo>
                  <a:pt x="3351" y="249"/>
                </a:lnTo>
                <a:lnTo>
                  <a:pt x="3365" y="255"/>
                </a:lnTo>
                <a:lnTo>
                  <a:pt x="3377" y="262"/>
                </a:lnTo>
                <a:lnTo>
                  <a:pt x="3402" y="275"/>
                </a:lnTo>
                <a:lnTo>
                  <a:pt x="3425" y="293"/>
                </a:lnTo>
                <a:lnTo>
                  <a:pt x="3447" y="314"/>
                </a:lnTo>
                <a:lnTo>
                  <a:pt x="3467" y="336"/>
                </a:lnTo>
                <a:lnTo>
                  <a:pt x="3485" y="361"/>
                </a:lnTo>
                <a:lnTo>
                  <a:pt x="3501" y="387"/>
                </a:lnTo>
                <a:lnTo>
                  <a:pt x="3515" y="414"/>
                </a:lnTo>
                <a:lnTo>
                  <a:pt x="3526" y="445"/>
                </a:lnTo>
                <a:lnTo>
                  <a:pt x="3536" y="475"/>
                </a:lnTo>
                <a:lnTo>
                  <a:pt x="3542" y="508"/>
                </a:lnTo>
                <a:lnTo>
                  <a:pt x="3547" y="541"/>
                </a:lnTo>
                <a:lnTo>
                  <a:pt x="3548" y="574"/>
                </a:lnTo>
                <a:lnTo>
                  <a:pt x="3548" y="642"/>
                </a:lnTo>
                <a:lnTo>
                  <a:pt x="3547" y="665"/>
                </a:lnTo>
                <a:lnTo>
                  <a:pt x="3545" y="687"/>
                </a:lnTo>
                <a:lnTo>
                  <a:pt x="3541" y="706"/>
                </a:lnTo>
                <a:lnTo>
                  <a:pt x="3537" y="726"/>
                </a:lnTo>
                <a:lnTo>
                  <a:pt x="3531" y="745"/>
                </a:lnTo>
                <a:lnTo>
                  <a:pt x="3525" y="761"/>
                </a:lnTo>
                <a:lnTo>
                  <a:pt x="3516" y="777"/>
                </a:lnTo>
                <a:lnTo>
                  <a:pt x="3508" y="792"/>
                </a:lnTo>
                <a:close/>
                <a:moveTo>
                  <a:pt x="3385" y="406"/>
                </a:moveTo>
                <a:lnTo>
                  <a:pt x="3385" y="406"/>
                </a:lnTo>
                <a:lnTo>
                  <a:pt x="3376" y="424"/>
                </a:lnTo>
                <a:lnTo>
                  <a:pt x="3365" y="441"/>
                </a:lnTo>
                <a:lnTo>
                  <a:pt x="3352" y="456"/>
                </a:lnTo>
                <a:lnTo>
                  <a:pt x="3340" y="471"/>
                </a:lnTo>
                <a:lnTo>
                  <a:pt x="3326" y="486"/>
                </a:lnTo>
                <a:lnTo>
                  <a:pt x="3311" y="498"/>
                </a:lnTo>
                <a:lnTo>
                  <a:pt x="3295" y="511"/>
                </a:lnTo>
                <a:lnTo>
                  <a:pt x="3278" y="522"/>
                </a:lnTo>
                <a:lnTo>
                  <a:pt x="3260" y="532"/>
                </a:lnTo>
                <a:lnTo>
                  <a:pt x="3242" y="541"/>
                </a:lnTo>
                <a:lnTo>
                  <a:pt x="3224" y="548"/>
                </a:lnTo>
                <a:lnTo>
                  <a:pt x="3205" y="555"/>
                </a:lnTo>
                <a:lnTo>
                  <a:pt x="3184" y="559"/>
                </a:lnTo>
                <a:lnTo>
                  <a:pt x="3164" y="563"/>
                </a:lnTo>
                <a:lnTo>
                  <a:pt x="3143" y="566"/>
                </a:lnTo>
                <a:lnTo>
                  <a:pt x="3123" y="566"/>
                </a:lnTo>
                <a:lnTo>
                  <a:pt x="3095" y="565"/>
                </a:lnTo>
                <a:lnTo>
                  <a:pt x="3067" y="562"/>
                </a:lnTo>
                <a:lnTo>
                  <a:pt x="3066" y="585"/>
                </a:lnTo>
                <a:lnTo>
                  <a:pt x="3066" y="665"/>
                </a:lnTo>
                <a:lnTo>
                  <a:pt x="3067" y="690"/>
                </a:lnTo>
                <a:lnTo>
                  <a:pt x="3070" y="712"/>
                </a:lnTo>
                <a:lnTo>
                  <a:pt x="3076" y="734"/>
                </a:lnTo>
                <a:lnTo>
                  <a:pt x="3083" y="755"/>
                </a:lnTo>
                <a:lnTo>
                  <a:pt x="3091" y="775"/>
                </a:lnTo>
                <a:lnTo>
                  <a:pt x="3100" y="793"/>
                </a:lnTo>
                <a:lnTo>
                  <a:pt x="3113" y="811"/>
                </a:lnTo>
                <a:lnTo>
                  <a:pt x="3125" y="828"/>
                </a:lnTo>
                <a:lnTo>
                  <a:pt x="3139" y="841"/>
                </a:lnTo>
                <a:lnTo>
                  <a:pt x="3156" y="855"/>
                </a:lnTo>
                <a:lnTo>
                  <a:pt x="3171" y="866"/>
                </a:lnTo>
                <a:lnTo>
                  <a:pt x="3189" y="874"/>
                </a:lnTo>
                <a:lnTo>
                  <a:pt x="3206" y="883"/>
                </a:lnTo>
                <a:lnTo>
                  <a:pt x="3226" y="888"/>
                </a:lnTo>
                <a:lnTo>
                  <a:pt x="3245" y="891"/>
                </a:lnTo>
                <a:lnTo>
                  <a:pt x="3264" y="892"/>
                </a:lnTo>
                <a:lnTo>
                  <a:pt x="3284" y="891"/>
                </a:lnTo>
                <a:lnTo>
                  <a:pt x="3303" y="888"/>
                </a:lnTo>
                <a:lnTo>
                  <a:pt x="3322" y="883"/>
                </a:lnTo>
                <a:lnTo>
                  <a:pt x="3340" y="874"/>
                </a:lnTo>
                <a:lnTo>
                  <a:pt x="3358" y="866"/>
                </a:lnTo>
                <a:lnTo>
                  <a:pt x="3374" y="855"/>
                </a:lnTo>
                <a:lnTo>
                  <a:pt x="3390" y="841"/>
                </a:lnTo>
                <a:lnTo>
                  <a:pt x="3403" y="828"/>
                </a:lnTo>
                <a:lnTo>
                  <a:pt x="3416" y="811"/>
                </a:lnTo>
                <a:lnTo>
                  <a:pt x="3428" y="793"/>
                </a:lnTo>
                <a:lnTo>
                  <a:pt x="3438" y="775"/>
                </a:lnTo>
                <a:lnTo>
                  <a:pt x="3446" y="755"/>
                </a:lnTo>
                <a:lnTo>
                  <a:pt x="3453" y="734"/>
                </a:lnTo>
                <a:lnTo>
                  <a:pt x="3458" y="712"/>
                </a:lnTo>
                <a:lnTo>
                  <a:pt x="3461" y="690"/>
                </a:lnTo>
                <a:lnTo>
                  <a:pt x="3463" y="665"/>
                </a:lnTo>
                <a:lnTo>
                  <a:pt x="3463" y="585"/>
                </a:lnTo>
                <a:lnTo>
                  <a:pt x="3461" y="558"/>
                </a:lnTo>
                <a:lnTo>
                  <a:pt x="3457" y="532"/>
                </a:lnTo>
                <a:lnTo>
                  <a:pt x="3450" y="507"/>
                </a:lnTo>
                <a:lnTo>
                  <a:pt x="3442" y="483"/>
                </a:lnTo>
                <a:lnTo>
                  <a:pt x="3431" y="461"/>
                </a:lnTo>
                <a:lnTo>
                  <a:pt x="3417" y="441"/>
                </a:lnTo>
                <a:lnTo>
                  <a:pt x="3402" y="423"/>
                </a:lnTo>
                <a:lnTo>
                  <a:pt x="3385" y="406"/>
                </a:lnTo>
                <a:close/>
                <a:moveTo>
                  <a:pt x="186" y="2587"/>
                </a:moveTo>
                <a:lnTo>
                  <a:pt x="186" y="2587"/>
                </a:lnTo>
                <a:lnTo>
                  <a:pt x="186" y="2579"/>
                </a:lnTo>
                <a:lnTo>
                  <a:pt x="189" y="2572"/>
                </a:lnTo>
                <a:lnTo>
                  <a:pt x="193" y="2565"/>
                </a:lnTo>
                <a:lnTo>
                  <a:pt x="197" y="2560"/>
                </a:lnTo>
                <a:lnTo>
                  <a:pt x="202" y="2556"/>
                </a:lnTo>
                <a:lnTo>
                  <a:pt x="209" y="2552"/>
                </a:lnTo>
                <a:lnTo>
                  <a:pt x="216" y="2550"/>
                </a:lnTo>
                <a:lnTo>
                  <a:pt x="223" y="2549"/>
                </a:lnTo>
                <a:lnTo>
                  <a:pt x="231" y="2550"/>
                </a:lnTo>
                <a:lnTo>
                  <a:pt x="238" y="2552"/>
                </a:lnTo>
                <a:lnTo>
                  <a:pt x="244" y="2556"/>
                </a:lnTo>
                <a:lnTo>
                  <a:pt x="249" y="2560"/>
                </a:lnTo>
                <a:lnTo>
                  <a:pt x="255" y="2565"/>
                </a:lnTo>
                <a:lnTo>
                  <a:pt x="257" y="2572"/>
                </a:lnTo>
                <a:lnTo>
                  <a:pt x="260" y="2579"/>
                </a:lnTo>
                <a:lnTo>
                  <a:pt x="260" y="2587"/>
                </a:lnTo>
                <a:lnTo>
                  <a:pt x="260" y="2594"/>
                </a:lnTo>
                <a:lnTo>
                  <a:pt x="257" y="2601"/>
                </a:lnTo>
                <a:lnTo>
                  <a:pt x="255" y="2608"/>
                </a:lnTo>
                <a:lnTo>
                  <a:pt x="249" y="2614"/>
                </a:lnTo>
                <a:lnTo>
                  <a:pt x="244" y="2618"/>
                </a:lnTo>
                <a:lnTo>
                  <a:pt x="238" y="2622"/>
                </a:lnTo>
                <a:lnTo>
                  <a:pt x="231" y="2623"/>
                </a:lnTo>
                <a:lnTo>
                  <a:pt x="223" y="2625"/>
                </a:lnTo>
                <a:lnTo>
                  <a:pt x="216" y="2623"/>
                </a:lnTo>
                <a:lnTo>
                  <a:pt x="209" y="2622"/>
                </a:lnTo>
                <a:lnTo>
                  <a:pt x="202" y="2618"/>
                </a:lnTo>
                <a:lnTo>
                  <a:pt x="197" y="2614"/>
                </a:lnTo>
                <a:lnTo>
                  <a:pt x="193" y="2608"/>
                </a:lnTo>
                <a:lnTo>
                  <a:pt x="189" y="2601"/>
                </a:lnTo>
                <a:lnTo>
                  <a:pt x="186" y="2594"/>
                </a:lnTo>
                <a:lnTo>
                  <a:pt x="186" y="2587"/>
                </a:lnTo>
                <a:close/>
                <a:moveTo>
                  <a:pt x="720" y="2260"/>
                </a:moveTo>
                <a:lnTo>
                  <a:pt x="792" y="1121"/>
                </a:lnTo>
                <a:lnTo>
                  <a:pt x="783" y="1115"/>
                </a:lnTo>
                <a:lnTo>
                  <a:pt x="776" y="1108"/>
                </a:lnTo>
                <a:lnTo>
                  <a:pt x="770" y="1102"/>
                </a:lnTo>
                <a:lnTo>
                  <a:pt x="764" y="1095"/>
                </a:lnTo>
                <a:lnTo>
                  <a:pt x="760" y="1086"/>
                </a:lnTo>
                <a:lnTo>
                  <a:pt x="756" y="1078"/>
                </a:lnTo>
                <a:lnTo>
                  <a:pt x="753" y="1069"/>
                </a:lnTo>
                <a:lnTo>
                  <a:pt x="752" y="1059"/>
                </a:lnTo>
                <a:lnTo>
                  <a:pt x="837" y="980"/>
                </a:lnTo>
                <a:lnTo>
                  <a:pt x="924" y="1059"/>
                </a:lnTo>
                <a:lnTo>
                  <a:pt x="922" y="1069"/>
                </a:lnTo>
                <a:lnTo>
                  <a:pt x="920" y="1078"/>
                </a:lnTo>
                <a:lnTo>
                  <a:pt x="916" y="1086"/>
                </a:lnTo>
                <a:lnTo>
                  <a:pt x="910" y="1095"/>
                </a:lnTo>
                <a:lnTo>
                  <a:pt x="905" y="1102"/>
                </a:lnTo>
                <a:lnTo>
                  <a:pt x="899" y="1108"/>
                </a:lnTo>
                <a:lnTo>
                  <a:pt x="892" y="1115"/>
                </a:lnTo>
                <a:lnTo>
                  <a:pt x="884" y="1121"/>
                </a:lnTo>
                <a:lnTo>
                  <a:pt x="955" y="2260"/>
                </a:lnTo>
                <a:lnTo>
                  <a:pt x="837" y="2397"/>
                </a:lnTo>
                <a:lnTo>
                  <a:pt x="720" y="2260"/>
                </a:lnTo>
                <a:close/>
              </a:path>
            </a:pathLst>
          </a:custGeom>
          <a:solidFill>
            <a:srgbClr val="F6BB42"/>
          </a:solidFill>
          <a:ln>
            <a:noFill/>
          </a:ln>
        </p:spPr>
        <p:txBody>
          <a:bodyPr/>
          <a:lstStyle/>
          <a:p>
            <a:endParaRPr lang="ru-RU">
              <a:solidFill>
                <a:srgbClr val="F6BB42"/>
              </a:solidFill>
            </a:endParaRPr>
          </a:p>
        </p:txBody>
      </p:sp>
      <p:grpSp>
        <p:nvGrpSpPr>
          <p:cNvPr id="33" name="Group 75"/>
          <p:cNvGrpSpPr>
            <a:grpSpLocks noChangeAspect="1"/>
          </p:cNvGrpSpPr>
          <p:nvPr/>
        </p:nvGrpSpPr>
        <p:grpSpPr bwMode="auto">
          <a:xfrm>
            <a:off x="5798157" y="3858707"/>
            <a:ext cx="949319" cy="756481"/>
            <a:chOff x="4533" y="809"/>
            <a:chExt cx="884" cy="705"/>
          </a:xfrm>
        </p:grpSpPr>
        <p:sp>
          <p:nvSpPr>
            <p:cNvPr id="34" name="AutoShape 74"/>
            <p:cNvSpPr>
              <a:spLocks noChangeAspect="1" noChangeArrowheads="1" noTextEdit="1"/>
            </p:cNvSpPr>
            <p:nvPr/>
          </p:nvSpPr>
          <p:spPr bwMode="auto">
            <a:xfrm>
              <a:off x="4533" y="810"/>
              <a:ext cx="883" cy="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35" name="Freeform 76"/>
            <p:cNvSpPr>
              <a:spLocks noEditPoints="1"/>
            </p:cNvSpPr>
            <p:nvPr/>
          </p:nvSpPr>
          <p:spPr bwMode="auto">
            <a:xfrm>
              <a:off x="4533" y="809"/>
              <a:ext cx="884" cy="585"/>
            </a:xfrm>
            <a:custGeom>
              <a:avLst/>
              <a:gdLst>
                <a:gd name="T0" fmla="*/ 107 w 736"/>
                <a:gd name="T1" fmla="*/ 1478 h 486"/>
                <a:gd name="T2" fmla="*/ 0 w 736"/>
                <a:gd name="T3" fmla="*/ 1372 h 486"/>
                <a:gd name="T4" fmla="*/ 0 w 736"/>
                <a:gd name="T5" fmla="*/ 106 h 486"/>
                <a:gd name="T6" fmla="*/ 107 w 736"/>
                <a:gd name="T7" fmla="*/ 0 h 486"/>
                <a:gd name="T8" fmla="*/ 2109 w 736"/>
                <a:gd name="T9" fmla="*/ 0 h 486"/>
                <a:gd name="T10" fmla="*/ 2211 w 736"/>
                <a:gd name="T11" fmla="*/ 106 h 486"/>
                <a:gd name="T12" fmla="*/ 2211 w 736"/>
                <a:gd name="T13" fmla="*/ 1375 h 486"/>
                <a:gd name="T14" fmla="*/ 2109 w 736"/>
                <a:gd name="T15" fmla="*/ 1478 h 486"/>
                <a:gd name="T16" fmla="*/ 107 w 736"/>
                <a:gd name="T17" fmla="*/ 1478 h 486"/>
                <a:gd name="T18" fmla="*/ 136 w 736"/>
                <a:gd name="T19" fmla="*/ 136 h 486"/>
                <a:gd name="T20" fmla="*/ 136 w 736"/>
                <a:gd name="T21" fmla="*/ 1207 h 486"/>
                <a:gd name="T22" fmla="*/ 2078 w 736"/>
                <a:gd name="T23" fmla="*/ 1207 h 486"/>
                <a:gd name="T24" fmla="*/ 2078 w 736"/>
                <a:gd name="T25" fmla="*/ 136 h 486"/>
                <a:gd name="T26" fmla="*/ 136 w 736"/>
                <a:gd name="T27" fmla="*/ 136 h 4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36"/>
                <a:gd name="T43" fmla="*/ 0 h 486"/>
                <a:gd name="T44" fmla="*/ 736 w 736"/>
                <a:gd name="T45" fmla="*/ 486 h 4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36" h="486">
                  <a:moveTo>
                    <a:pt x="36" y="486"/>
                  </a:moveTo>
                  <a:cubicBezTo>
                    <a:pt x="14" y="486"/>
                    <a:pt x="0" y="472"/>
                    <a:pt x="0" y="451"/>
                  </a:cubicBezTo>
                  <a:cubicBezTo>
                    <a:pt x="1" y="312"/>
                    <a:pt x="1" y="174"/>
                    <a:pt x="0" y="35"/>
                  </a:cubicBezTo>
                  <a:cubicBezTo>
                    <a:pt x="0" y="14"/>
                    <a:pt x="14" y="0"/>
                    <a:pt x="36" y="0"/>
                  </a:cubicBezTo>
                  <a:cubicBezTo>
                    <a:pt x="258" y="0"/>
                    <a:pt x="480" y="0"/>
                    <a:pt x="702" y="0"/>
                  </a:cubicBezTo>
                  <a:cubicBezTo>
                    <a:pt x="725" y="0"/>
                    <a:pt x="736" y="11"/>
                    <a:pt x="736" y="35"/>
                  </a:cubicBezTo>
                  <a:cubicBezTo>
                    <a:pt x="736" y="174"/>
                    <a:pt x="736" y="313"/>
                    <a:pt x="736" y="452"/>
                  </a:cubicBezTo>
                  <a:cubicBezTo>
                    <a:pt x="736" y="475"/>
                    <a:pt x="725" y="486"/>
                    <a:pt x="702" y="486"/>
                  </a:cubicBezTo>
                  <a:cubicBezTo>
                    <a:pt x="591" y="486"/>
                    <a:pt x="146" y="486"/>
                    <a:pt x="36" y="486"/>
                  </a:cubicBezTo>
                  <a:close/>
                  <a:moveTo>
                    <a:pt x="45" y="45"/>
                  </a:moveTo>
                  <a:cubicBezTo>
                    <a:pt x="45" y="163"/>
                    <a:pt x="45" y="280"/>
                    <a:pt x="45" y="397"/>
                  </a:cubicBezTo>
                  <a:cubicBezTo>
                    <a:pt x="261" y="397"/>
                    <a:pt x="477" y="397"/>
                    <a:pt x="692" y="397"/>
                  </a:cubicBezTo>
                  <a:cubicBezTo>
                    <a:pt x="692" y="279"/>
                    <a:pt x="692" y="162"/>
                    <a:pt x="692" y="45"/>
                  </a:cubicBezTo>
                  <a:cubicBezTo>
                    <a:pt x="476" y="45"/>
                    <a:pt x="261" y="45"/>
                    <a:pt x="45" y="45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36" name="Freeform 77"/>
            <p:cNvSpPr>
              <a:spLocks noEditPoints="1"/>
            </p:cNvSpPr>
            <p:nvPr/>
          </p:nvSpPr>
          <p:spPr bwMode="auto">
            <a:xfrm>
              <a:off x="4533" y="809"/>
              <a:ext cx="884" cy="585"/>
            </a:xfrm>
            <a:custGeom>
              <a:avLst/>
              <a:gdLst>
                <a:gd name="T0" fmla="*/ 107 w 736"/>
                <a:gd name="T1" fmla="*/ 1478 h 486"/>
                <a:gd name="T2" fmla="*/ 0 w 736"/>
                <a:gd name="T3" fmla="*/ 1372 h 486"/>
                <a:gd name="T4" fmla="*/ 0 w 736"/>
                <a:gd name="T5" fmla="*/ 106 h 486"/>
                <a:gd name="T6" fmla="*/ 107 w 736"/>
                <a:gd name="T7" fmla="*/ 0 h 486"/>
                <a:gd name="T8" fmla="*/ 2109 w 736"/>
                <a:gd name="T9" fmla="*/ 0 h 486"/>
                <a:gd name="T10" fmla="*/ 2211 w 736"/>
                <a:gd name="T11" fmla="*/ 106 h 486"/>
                <a:gd name="T12" fmla="*/ 2211 w 736"/>
                <a:gd name="T13" fmla="*/ 1375 h 486"/>
                <a:gd name="T14" fmla="*/ 2109 w 736"/>
                <a:gd name="T15" fmla="*/ 1478 h 486"/>
                <a:gd name="T16" fmla="*/ 107 w 736"/>
                <a:gd name="T17" fmla="*/ 1478 h 486"/>
                <a:gd name="T18" fmla="*/ 136 w 736"/>
                <a:gd name="T19" fmla="*/ 136 h 486"/>
                <a:gd name="T20" fmla="*/ 136 w 736"/>
                <a:gd name="T21" fmla="*/ 1207 h 486"/>
                <a:gd name="T22" fmla="*/ 2078 w 736"/>
                <a:gd name="T23" fmla="*/ 1207 h 486"/>
                <a:gd name="T24" fmla="*/ 2078 w 736"/>
                <a:gd name="T25" fmla="*/ 136 h 486"/>
                <a:gd name="T26" fmla="*/ 136 w 736"/>
                <a:gd name="T27" fmla="*/ 136 h 4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36"/>
                <a:gd name="T43" fmla="*/ 0 h 486"/>
                <a:gd name="T44" fmla="*/ 736 w 736"/>
                <a:gd name="T45" fmla="*/ 486 h 4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36" h="486">
                  <a:moveTo>
                    <a:pt x="36" y="486"/>
                  </a:moveTo>
                  <a:cubicBezTo>
                    <a:pt x="14" y="486"/>
                    <a:pt x="0" y="472"/>
                    <a:pt x="0" y="451"/>
                  </a:cubicBezTo>
                  <a:cubicBezTo>
                    <a:pt x="1" y="312"/>
                    <a:pt x="1" y="174"/>
                    <a:pt x="0" y="35"/>
                  </a:cubicBezTo>
                  <a:cubicBezTo>
                    <a:pt x="0" y="14"/>
                    <a:pt x="14" y="0"/>
                    <a:pt x="36" y="0"/>
                  </a:cubicBezTo>
                  <a:cubicBezTo>
                    <a:pt x="258" y="0"/>
                    <a:pt x="480" y="0"/>
                    <a:pt x="702" y="0"/>
                  </a:cubicBezTo>
                  <a:cubicBezTo>
                    <a:pt x="725" y="0"/>
                    <a:pt x="736" y="11"/>
                    <a:pt x="736" y="35"/>
                  </a:cubicBezTo>
                  <a:cubicBezTo>
                    <a:pt x="736" y="174"/>
                    <a:pt x="736" y="313"/>
                    <a:pt x="736" y="452"/>
                  </a:cubicBezTo>
                  <a:cubicBezTo>
                    <a:pt x="736" y="475"/>
                    <a:pt x="725" y="486"/>
                    <a:pt x="702" y="486"/>
                  </a:cubicBezTo>
                  <a:cubicBezTo>
                    <a:pt x="591" y="486"/>
                    <a:pt x="146" y="486"/>
                    <a:pt x="36" y="486"/>
                  </a:cubicBezTo>
                  <a:close/>
                  <a:moveTo>
                    <a:pt x="45" y="45"/>
                  </a:moveTo>
                  <a:cubicBezTo>
                    <a:pt x="45" y="163"/>
                    <a:pt x="45" y="280"/>
                    <a:pt x="45" y="397"/>
                  </a:cubicBezTo>
                  <a:cubicBezTo>
                    <a:pt x="261" y="397"/>
                    <a:pt x="477" y="397"/>
                    <a:pt x="692" y="397"/>
                  </a:cubicBezTo>
                  <a:cubicBezTo>
                    <a:pt x="692" y="279"/>
                    <a:pt x="692" y="162"/>
                    <a:pt x="692" y="45"/>
                  </a:cubicBezTo>
                  <a:cubicBezTo>
                    <a:pt x="476" y="45"/>
                    <a:pt x="261" y="45"/>
                    <a:pt x="45" y="45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37" name="Freeform 78"/>
            <p:cNvSpPr>
              <a:spLocks/>
            </p:cNvSpPr>
            <p:nvPr/>
          </p:nvSpPr>
          <p:spPr bwMode="auto">
            <a:xfrm>
              <a:off x="4841" y="1430"/>
              <a:ext cx="271" cy="84"/>
            </a:xfrm>
            <a:custGeom>
              <a:avLst/>
              <a:gdLst>
                <a:gd name="T0" fmla="*/ 559 w 226"/>
                <a:gd name="T1" fmla="*/ 0 h 70"/>
                <a:gd name="T2" fmla="*/ 673 w 226"/>
                <a:gd name="T3" fmla="*/ 209 h 70"/>
                <a:gd name="T4" fmla="*/ 0 w 226"/>
                <a:gd name="T5" fmla="*/ 209 h 70"/>
                <a:gd name="T6" fmla="*/ 107 w 226"/>
                <a:gd name="T7" fmla="*/ 0 h 70"/>
                <a:gd name="T8" fmla="*/ 559 w 226"/>
                <a:gd name="T9" fmla="*/ 0 h 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6"/>
                <a:gd name="T16" fmla="*/ 0 h 70"/>
                <a:gd name="T17" fmla="*/ 226 w 226"/>
                <a:gd name="T18" fmla="*/ 70 h 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6" h="70">
                  <a:moveTo>
                    <a:pt x="188" y="0"/>
                  </a:moveTo>
                  <a:cubicBezTo>
                    <a:pt x="188" y="53"/>
                    <a:pt x="226" y="70"/>
                    <a:pt x="226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36" y="49"/>
                    <a:pt x="36" y="0"/>
                  </a:cubicBezTo>
                  <a:cubicBezTo>
                    <a:pt x="87" y="0"/>
                    <a:pt x="138" y="0"/>
                    <a:pt x="188" y="0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38" name="Freeform 79"/>
            <p:cNvSpPr>
              <a:spLocks/>
            </p:cNvSpPr>
            <p:nvPr/>
          </p:nvSpPr>
          <p:spPr bwMode="auto">
            <a:xfrm>
              <a:off x="4682" y="917"/>
              <a:ext cx="547" cy="170"/>
            </a:xfrm>
            <a:custGeom>
              <a:avLst/>
              <a:gdLst>
                <a:gd name="T0" fmla="*/ 0 w 455"/>
                <a:gd name="T1" fmla="*/ 356 h 141"/>
                <a:gd name="T2" fmla="*/ 602 w 455"/>
                <a:gd name="T3" fmla="*/ 35 h 141"/>
                <a:gd name="T4" fmla="*/ 643 w 455"/>
                <a:gd name="T5" fmla="*/ 41 h 141"/>
                <a:gd name="T6" fmla="*/ 973 w 455"/>
                <a:gd name="T7" fmla="*/ 257 h 141"/>
                <a:gd name="T8" fmla="*/ 1324 w 455"/>
                <a:gd name="T9" fmla="*/ 0 h 141"/>
                <a:gd name="T10" fmla="*/ 1374 w 455"/>
                <a:gd name="T11" fmla="*/ 74 h 141"/>
                <a:gd name="T12" fmla="*/ 980 w 455"/>
                <a:gd name="T13" fmla="*/ 363 h 141"/>
                <a:gd name="T14" fmla="*/ 653 w 455"/>
                <a:gd name="T15" fmla="*/ 153 h 141"/>
                <a:gd name="T16" fmla="*/ 585 w 455"/>
                <a:gd name="T17" fmla="*/ 151 h 141"/>
                <a:gd name="T18" fmla="*/ 42 w 455"/>
                <a:gd name="T19" fmla="*/ 433 h 141"/>
                <a:gd name="T20" fmla="*/ 0 w 455"/>
                <a:gd name="T21" fmla="*/ 356 h 1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55"/>
                <a:gd name="T34" fmla="*/ 0 h 141"/>
                <a:gd name="T35" fmla="*/ 455 w 455"/>
                <a:gd name="T36" fmla="*/ 141 h 1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55" h="141">
                  <a:moveTo>
                    <a:pt x="0" y="115"/>
                  </a:moveTo>
                  <a:cubicBezTo>
                    <a:pt x="36" y="97"/>
                    <a:pt x="168" y="29"/>
                    <a:pt x="200" y="12"/>
                  </a:cubicBezTo>
                  <a:cubicBezTo>
                    <a:pt x="205" y="10"/>
                    <a:pt x="208" y="10"/>
                    <a:pt x="213" y="13"/>
                  </a:cubicBezTo>
                  <a:cubicBezTo>
                    <a:pt x="247" y="35"/>
                    <a:pt x="323" y="84"/>
                    <a:pt x="323" y="84"/>
                  </a:cubicBezTo>
                  <a:cubicBezTo>
                    <a:pt x="323" y="84"/>
                    <a:pt x="388" y="36"/>
                    <a:pt x="438" y="0"/>
                  </a:cubicBezTo>
                  <a:cubicBezTo>
                    <a:pt x="443" y="8"/>
                    <a:pt x="449" y="16"/>
                    <a:pt x="455" y="24"/>
                  </a:cubicBezTo>
                  <a:cubicBezTo>
                    <a:pt x="400" y="64"/>
                    <a:pt x="324" y="119"/>
                    <a:pt x="324" y="119"/>
                  </a:cubicBezTo>
                  <a:cubicBezTo>
                    <a:pt x="324" y="119"/>
                    <a:pt x="220" y="54"/>
                    <a:pt x="216" y="50"/>
                  </a:cubicBezTo>
                  <a:cubicBezTo>
                    <a:pt x="208" y="43"/>
                    <a:pt x="202" y="44"/>
                    <a:pt x="194" y="49"/>
                  </a:cubicBezTo>
                  <a:cubicBezTo>
                    <a:pt x="137" y="79"/>
                    <a:pt x="17" y="140"/>
                    <a:pt x="14" y="141"/>
                  </a:cubicBezTo>
                  <a:cubicBezTo>
                    <a:pt x="9" y="133"/>
                    <a:pt x="5" y="124"/>
                    <a:pt x="0" y="115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39" name="Freeform 80"/>
            <p:cNvSpPr>
              <a:spLocks/>
            </p:cNvSpPr>
            <p:nvPr/>
          </p:nvSpPr>
          <p:spPr bwMode="auto">
            <a:xfrm>
              <a:off x="4886" y="1043"/>
              <a:ext cx="69" cy="194"/>
            </a:xfrm>
            <a:custGeom>
              <a:avLst/>
              <a:gdLst>
                <a:gd name="T0" fmla="*/ 0 w 57"/>
                <a:gd name="T1" fmla="*/ 0 h 161"/>
                <a:gd name="T2" fmla="*/ 180 w 57"/>
                <a:gd name="T3" fmla="*/ 0 h 161"/>
                <a:gd name="T4" fmla="*/ 180 w 57"/>
                <a:gd name="T5" fmla="*/ 494 h 161"/>
                <a:gd name="T6" fmla="*/ 0 w 57"/>
                <a:gd name="T7" fmla="*/ 494 h 161"/>
                <a:gd name="T8" fmla="*/ 0 w 57"/>
                <a:gd name="T9" fmla="*/ 0 h 1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161"/>
                <a:gd name="T17" fmla="*/ 57 w 57"/>
                <a:gd name="T18" fmla="*/ 161 h 1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161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54"/>
                    <a:pt x="57" y="107"/>
                    <a:pt x="57" y="161"/>
                  </a:cubicBezTo>
                  <a:cubicBezTo>
                    <a:pt x="38" y="161"/>
                    <a:pt x="19" y="161"/>
                    <a:pt x="0" y="161"/>
                  </a:cubicBezTo>
                  <a:cubicBezTo>
                    <a:pt x="0" y="108"/>
                    <a:pt x="0" y="54"/>
                    <a:pt x="0" y="0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40" name="Freeform 81"/>
            <p:cNvSpPr>
              <a:spLocks/>
            </p:cNvSpPr>
            <p:nvPr/>
          </p:nvSpPr>
          <p:spPr bwMode="auto">
            <a:xfrm>
              <a:off x="5160" y="1043"/>
              <a:ext cx="69" cy="194"/>
            </a:xfrm>
            <a:custGeom>
              <a:avLst/>
              <a:gdLst>
                <a:gd name="T0" fmla="*/ 0 w 57"/>
                <a:gd name="T1" fmla="*/ 0 h 161"/>
                <a:gd name="T2" fmla="*/ 180 w 57"/>
                <a:gd name="T3" fmla="*/ 0 h 161"/>
                <a:gd name="T4" fmla="*/ 180 w 57"/>
                <a:gd name="T5" fmla="*/ 494 h 161"/>
                <a:gd name="T6" fmla="*/ 0 w 57"/>
                <a:gd name="T7" fmla="*/ 494 h 161"/>
                <a:gd name="T8" fmla="*/ 0 w 57"/>
                <a:gd name="T9" fmla="*/ 0 h 1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161"/>
                <a:gd name="T17" fmla="*/ 57 w 57"/>
                <a:gd name="T18" fmla="*/ 161 h 1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161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54"/>
                    <a:pt x="57" y="108"/>
                    <a:pt x="57" y="161"/>
                  </a:cubicBezTo>
                  <a:cubicBezTo>
                    <a:pt x="38" y="161"/>
                    <a:pt x="19" y="161"/>
                    <a:pt x="0" y="161"/>
                  </a:cubicBezTo>
                  <a:cubicBezTo>
                    <a:pt x="0" y="108"/>
                    <a:pt x="0" y="54"/>
                    <a:pt x="0" y="0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41" name="Freeform 82"/>
            <p:cNvSpPr>
              <a:spLocks/>
            </p:cNvSpPr>
            <p:nvPr/>
          </p:nvSpPr>
          <p:spPr bwMode="auto">
            <a:xfrm>
              <a:off x="4735" y="1106"/>
              <a:ext cx="69" cy="131"/>
            </a:xfrm>
            <a:custGeom>
              <a:avLst/>
              <a:gdLst>
                <a:gd name="T0" fmla="*/ 165 w 58"/>
                <a:gd name="T1" fmla="*/ 328 h 109"/>
                <a:gd name="T2" fmla="*/ 0 w 58"/>
                <a:gd name="T3" fmla="*/ 328 h 109"/>
                <a:gd name="T4" fmla="*/ 0 w 58"/>
                <a:gd name="T5" fmla="*/ 0 h 109"/>
                <a:gd name="T6" fmla="*/ 165 w 58"/>
                <a:gd name="T7" fmla="*/ 0 h 109"/>
                <a:gd name="T8" fmla="*/ 165 w 58"/>
                <a:gd name="T9" fmla="*/ 328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09"/>
                <a:gd name="T17" fmla="*/ 58 w 58"/>
                <a:gd name="T18" fmla="*/ 109 h 10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09">
                  <a:moveTo>
                    <a:pt x="58" y="109"/>
                  </a:moveTo>
                  <a:cubicBezTo>
                    <a:pt x="39" y="109"/>
                    <a:pt x="20" y="109"/>
                    <a:pt x="0" y="109"/>
                  </a:cubicBezTo>
                  <a:cubicBezTo>
                    <a:pt x="0" y="73"/>
                    <a:pt x="0" y="37"/>
                    <a:pt x="0" y="0"/>
                  </a:cubicBezTo>
                  <a:cubicBezTo>
                    <a:pt x="20" y="0"/>
                    <a:pt x="39" y="0"/>
                    <a:pt x="58" y="0"/>
                  </a:cubicBezTo>
                  <a:cubicBezTo>
                    <a:pt x="58" y="37"/>
                    <a:pt x="58" y="73"/>
                    <a:pt x="58" y="109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42" name="Freeform 83"/>
            <p:cNvSpPr>
              <a:spLocks/>
            </p:cNvSpPr>
            <p:nvPr/>
          </p:nvSpPr>
          <p:spPr bwMode="auto">
            <a:xfrm>
              <a:off x="5027" y="1105"/>
              <a:ext cx="69" cy="132"/>
            </a:xfrm>
            <a:custGeom>
              <a:avLst/>
              <a:gdLst>
                <a:gd name="T0" fmla="*/ 165 w 58"/>
                <a:gd name="T1" fmla="*/ 329 h 110"/>
                <a:gd name="T2" fmla="*/ 0 w 58"/>
                <a:gd name="T3" fmla="*/ 329 h 110"/>
                <a:gd name="T4" fmla="*/ 0 w 58"/>
                <a:gd name="T5" fmla="*/ 0 h 110"/>
                <a:gd name="T6" fmla="*/ 165 w 58"/>
                <a:gd name="T7" fmla="*/ 0 h 110"/>
                <a:gd name="T8" fmla="*/ 165 w 58"/>
                <a:gd name="T9" fmla="*/ 329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10"/>
                <a:gd name="T17" fmla="*/ 58 w 58"/>
                <a:gd name="T18" fmla="*/ 110 h 1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10">
                  <a:moveTo>
                    <a:pt x="58" y="110"/>
                  </a:moveTo>
                  <a:cubicBezTo>
                    <a:pt x="39" y="110"/>
                    <a:pt x="20" y="110"/>
                    <a:pt x="0" y="110"/>
                  </a:cubicBezTo>
                  <a:cubicBezTo>
                    <a:pt x="0" y="73"/>
                    <a:pt x="0" y="37"/>
                    <a:pt x="0" y="0"/>
                  </a:cubicBezTo>
                  <a:cubicBezTo>
                    <a:pt x="20" y="0"/>
                    <a:pt x="39" y="0"/>
                    <a:pt x="58" y="0"/>
                  </a:cubicBezTo>
                  <a:cubicBezTo>
                    <a:pt x="58" y="37"/>
                    <a:pt x="58" y="73"/>
                    <a:pt x="58" y="110"/>
                  </a:cubicBez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  <p:sp>
          <p:nvSpPr>
            <p:cNvPr id="43" name="Freeform 84"/>
            <p:cNvSpPr>
              <a:spLocks/>
            </p:cNvSpPr>
            <p:nvPr/>
          </p:nvSpPr>
          <p:spPr bwMode="auto">
            <a:xfrm>
              <a:off x="5183" y="901"/>
              <a:ext cx="77" cy="71"/>
            </a:xfrm>
            <a:custGeom>
              <a:avLst/>
              <a:gdLst>
                <a:gd name="T0" fmla="*/ 77 w 77"/>
                <a:gd name="T1" fmla="*/ 0 h 71"/>
                <a:gd name="T2" fmla="*/ 47 w 77"/>
                <a:gd name="T3" fmla="*/ 71 h 71"/>
                <a:gd name="T4" fmla="*/ 0 w 77"/>
                <a:gd name="T5" fmla="*/ 7 h 71"/>
                <a:gd name="T6" fmla="*/ 77 w 77"/>
                <a:gd name="T7" fmla="*/ 0 h 71"/>
                <a:gd name="T8" fmla="*/ 77 w 77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71"/>
                <a:gd name="T17" fmla="*/ 77 w 77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71">
                  <a:moveTo>
                    <a:pt x="77" y="0"/>
                  </a:moveTo>
                  <a:lnTo>
                    <a:pt x="47" y="71"/>
                  </a:lnTo>
                  <a:lnTo>
                    <a:pt x="0" y="7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6B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F6BB42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696987" y="3998540"/>
            <a:ext cx="1825851" cy="54597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marL="216000" indent="-216000">
              <a:buAutoNum type="arabicPeriod"/>
            </a:pPr>
            <a:r>
              <a:rPr lang="ru-RU" b="1" dirty="0">
                <a:solidFill>
                  <a:srgbClr val="F6BB42"/>
                </a:solidFill>
              </a:rPr>
              <a:t>Покупка ЦБ</a:t>
            </a:r>
          </a:p>
          <a:p>
            <a:pPr marL="216000" indent="-216000">
              <a:buAutoNum type="arabicPeriod"/>
            </a:pPr>
            <a:r>
              <a:rPr lang="ru-RU" b="1" dirty="0">
                <a:solidFill>
                  <a:srgbClr val="F6BB42"/>
                </a:solidFill>
              </a:rPr>
              <a:t>Продажа ЦБ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436486" y="4691371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F6BB42"/>
                </a:solidFill>
              </a:rPr>
              <a:t>Биржа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342703" y="4695020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F6BB42"/>
                </a:solidFill>
              </a:rPr>
              <a:t>Инвесторы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564629" y="5148694"/>
            <a:ext cx="36002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Внебиржевые ценные бумаги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522839" y="6495880"/>
            <a:ext cx="1193341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00B0F0"/>
                </a:solidFill>
              </a:rPr>
              <a:t>Эмитент</a:t>
            </a:r>
          </a:p>
        </p:txBody>
      </p:sp>
      <p:sp>
        <p:nvSpPr>
          <p:cNvPr id="49" name="Freeform 100"/>
          <p:cNvSpPr>
            <a:spLocks noChangeAspect="1" noEditPoints="1"/>
          </p:cNvSpPr>
          <p:nvPr/>
        </p:nvSpPr>
        <p:spPr bwMode="auto">
          <a:xfrm>
            <a:off x="2970284" y="5638622"/>
            <a:ext cx="298450" cy="766763"/>
          </a:xfrm>
          <a:custGeom>
            <a:avLst/>
            <a:gdLst>
              <a:gd name="T0" fmla="*/ 2147483647 w 1850"/>
              <a:gd name="T1" fmla="*/ 2147483647 h 4763"/>
              <a:gd name="T2" fmla="*/ 0 w 1850"/>
              <a:gd name="T3" fmla="*/ 2147483647 h 4763"/>
              <a:gd name="T4" fmla="*/ 2147483647 w 1850"/>
              <a:gd name="T5" fmla="*/ 2147483647 h 4763"/>
              <a:gd name="T6" fmla="*/ 2147483647 w 1850"/>
              <a:gd name="T7" fmla="*/ 2147483647 h 4763"/>
              <a:gd name="T8" fmla="*/ 2147483647 w 1850"/>
              <a:gd name="T9" fmla="*/ 2147483647 h 4763"/>
              <a:gd name="T10" fmla="*/ 2147483647 w 1850"/>
              <a:gd name="T11" fmla="*/ 2147483647 h 4763"/>
              <a:gd name="T12" fmla="*/ 2147483647 w 1850"/>
              <a:gd name="T13" fmla="*/ 2147483647 h 4763"/>
              <a:gd name="T14" fmla="*/ 2147483647 w 1850"/>
              <a:gd name="T15" fmla="*/ 2147483647 h 4763"/>
              <a:gd name="T16" fmla="*/ 2147483647 w 1850"/>
              <a:gd name="T17" fmla="*/ 2147483647 h 4763"/>
              <a:gd name="T18" fmla="*/ 2147483647 w 1850"/>
              <a:gd name="T19" fmla="*/ 2147483647 h 4763"/>
              <a:gd name="T20" fmla="*/ 2147483647 w 1850"/>
              <a:gd name="T21" fmla="*/ 2147483647 h 4763"/>
              <a:gd name="T22" fmla="*/ 2147483647 w 1850"/>
              <a:gd name="T23" fmla="*/ 2147483647 h 4763"/>
              <a:gd name="T24" fmla="*/ 2147483647 w 1850"/>
              <a:gd name="T25" fmla="*/ 2147483647 h 4763"/>
              <a:gd name="T26" fmla="*/ 2147483647 w 1850"/>
              <a:gd name="T27" fmla="*/ 2147483647 h 4763"/>
              <a:gd name="T28" fmla="*/ 2147483647 w 1850"/>
              <a:gd name="T29" fmla="*/ 2147483647 h 4763"/>
              <a:gd name="T30" fmla="*/ 2147483647 w 1850"/>
              <a:gd name="T31" fmla="*/ 2147483647 h 4763"/>
              <a:gd name="T32" fmla="*/ 2147483647 w 1850"/>
              <a:gd name="T33" fmla="*/ 2147483647 h 4763"/>
              <a:gd name="T34" fmla="*/ 2147483647 w 1850"/>
              <a:gd name="T35" fmla="*/ 2147483647 h 4763"/>
              <a:gd name="T36" fmla="*/ 2147483647 w 1850"/>
              <a:gd name="T37" fmla="*/ 2147483647 h 4763"/>
              <a:gd name="T38" fmla="*/ 2147483647 w 1850"/>
              <a:gd name="T39" fmla="*/ 2147483647 h 4763"/>
              <a:gd name="T40" fmla="*/ 2147483647 w 1850"/>
              <a:gd name="T41" fmla="*/ 2147483647 h 4763"/>
              <a:gd name="T42" fmla="*/ 2147483647 w 1850"/>
              <a:gd name="T43" fmla="*/ 2147483647 h 4763"/>
              <a:gd name="T44" fmla="*/ 2147483647 w 1850"/>
              <a:gd name="T45" fmla="*/ 2147483647 h 4763"/>
              <a:gd name="T46" fmla="*/ 2147483647 w 1850"/>
              <a:gd name="T47" fmla="*/ 2147483647 h 4763"/>
              <a:gd name="T48" fmla="*/ 2147483647 w 1850"/>
              <a:gd name="T49" fmla="*/ 2147483647 h 4763"/>
              <a:gd name="T50" fmla="*/ 2147483647 w 1850"/>
              <a:gd name="T51" fmla="*/ 2147483647 h 4763"/>
              <a:gd name="T52" fmla="*/ 2147483647 w 1850"/>
              <a:gd name="T53" fmla="*/ 2147483647 h 4763"/>
              <a:gd name="T54" fmla="*/ 2147483647 w 1850"/>
              <a:gd name="T55" fmla="*/ 2147483647 h 4763"/>
              <a:gd name="T56" fmla="*/ 2147483647 w 1850"/>
              <a:gd name="T57" fmla="*/ 2147483647 h 4763"/>
              <a:gd name="T58" fmla="*/ 2147483647 w 1850"/>
              <a:gd name="T59" fmla="*/ 2147483647 h 4763"/>
              <a:gd name="T60" fmla="*/ 2147483647 w 1850"/>
              <a:gd name="T61" fmla="*/ 2147483647 h 4763"/>
              <a:gd name="T62" fmla="*/ 2147483647 w 1850"/>
              <a:gd name="T63" fmla="*/ 2147483647 h 4763"/>
              <a:gd name="T64" fmla="*/ 2147483647 w 1850"/>
              <a:gd name="T65" fmla="*/ 2147483647 h 4763"/>
              <a:gd name="T66" fmla="*/ 2147483647 w 1850"/>
              <a:gd name="T67" fmla="*/ 2147483647 h 4763"/>
              <a:gd name="T68" fmla="*/ 2147483647 w 1850"/>
              <a:gd name="T69" fmla="*/ 2147483647 h 4763"/>
              <a:gd name="T70" fmla="*/ 2147483647 w 1850"/>
              <a:gd name="T71" fmla="*/ 2147483647 h 4763"/>
              <a:gd name="T72" fmla="*/ 2147483647 w 1850"/>
              <a:gd name="T73" fmla="*/ 2147483647 h 4763"/>
              <a:gd name="T74" fmla="*/ 2147483647 w 1850"/>
              <a:gd name="T75" fmla="*/ 2147483647 h 4763"/>
              <a:gd name="T76" fmla="*/ 2147483647 w 1850"/>
              <a:gd name="T77" fmla="*/ 2147483647 h 4763"/>
              <a:gd name="T78" fmla="*/ 2147483647 w 1850"/>
              <a:gd name="T79" fmla="*/ 2147483647 h 4763"/>
              <a:gd name="T80" fmla="*/ 2147483647 w 1850"/>
              <a:gd name="T81" fmla="*/ 2147483647 h 4763"/>
              <a:gd name="T82" fmla="*/ 2147483647 w 1850"/>
              <a:gd name="T83" fmla="*/ 2147483647 h 4763"/>
              <a:gd name="T84" fmla="*/ 2147483647 w 1850"/>
              <a:gd name="T85" fmla="*/ 2147483647 h 4763"/>
              <a:gd name="T86" fmla="*/ 2147483647 w 1850"/>
              <a:gd name="T87" fmla="*/ 2147483647 h 4763"/>
              <a:gd name="T88" fmla="*/ 2147483647 w 1850"/>
              <a:gd name="T89" fmla="*/ 2147483647 h 4763"/>
              <a:gd name="T90" fmla="*/ 2147483647 w 1850"/>
              <a:gd name="T91" fmla="*/ 2147483647 h 4763"/>
              <a:gd name="T92" fmla="*/ 2147483647 w 1850"/>
              <a:gd name="T93" fmla="*/ 2147483647 h 4763"/>
              <a:gd name="T94" fmla="*/ 2147483647 w 1850"/>
              <a:gd name="T95" fmla="*/ 2147483647 h 4763"/>
              <a:gd name="T96" fmla="*/ 2147483647 w 1850"/>
              <a:gd name="T97" fmla="*/ 2147483647 h 4763"/>
              <a:gd name="T98" fmla="*/ 2147483647 w 1850"/>
              <a:gd name="T99" fmla="*/ 2147483647 h 4763"/>
              <a:gd name="T100" fmla="*/ 2147483647 w 1850"/>
              <a:gd name="T101" fmla="*/ 2147483647 h 4763"/>
              <a:gd name="T102" fmla="*/ 2147483647 w 1850"/>
              <a:gd name="T103" fmla="*/ 2147483647 h 4763"/>
              <a:gd name="T104" fmla="*/ 2147483647 w 1850"/>
              <a:gd name="T105" fmla="*/ 2147483647 h 4763"/>
              <a:gd name="T106" fmla="*/ 2147483647 w 1850"/>
              <a:gd name="T107" fmla="*/ 2147483647 h 4763"/>
              <a:gd name="T108" fmla="*/ 2147483647 w 1850"/>
              <a:gd name="T109" fmla="*/ 2147483647 h 4763"/>
              <a:gd name="T110" fmla="*/ 2147483647 w 1850"/>
              <a:gd name="T111" fmla="*/ 2147483647 h 4763"/>
              <a:gd name="T112" fmla="*/ 2147483647 w 1850"/>
              <a:gd name="T113" fmla="*/ 2147483647 h 4763"/>
              <a:gd name="T114" fmla="*/ 2147483647 w 1850"/>
              <a:gd name="T115" fmla="*/ 2147483647 h 4763"/>
              <a:gd name="T116" fmla="*/ 2147483647 w 1850"/>
              <a:gd name="T117" fmla="*/ 2147483647 h 4763"/>
              <a:gd name="T118" fmla="*/ 2147483647 w 185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50"/>
              <a:gd name="T181" fmla="*/ 0 h 4763"/>
              <a:gd name="T182" fmla="*/ 1850 w 185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50" h="4763">
                <a:moveTo>
                  <a:pt x="352" y="3267"/>
                </a:moveTo>
                <a:lnTo>
                  <a:pt x="153" y="3107"/>
                </a:lnTo>
                <a:lnTo>
                  <a:pt x="70" y="2776"/>
                </a:lnTo>
                <a:lnTo>
                  <a:pt x="123" y="2776"/>
                </a:lnTo>
                <a:lnTo>
                  <a:pt x="200" y="3077"/>
                </a:lnTo>
                <a:lnTo>
                  <a:pt x="348" y="3198"/>
                </a:lnTo>
                <a:lnTo>
                  <a:pt x="326" y="2724"/>
                </a:lnTo>
                <a:lnTo>
                  <a:pt x="271" y="2724"/>
                </a:lnTo>
                <a:lnTo>
                  <a:pt x="110" y="2724"/>
                </a:lnTo>
                <a:lnTo>
                  <a:pt x="57" y="2724"/>
                </a:lnTo>
                <a:lnTo>
                  <a:pt x="0" y="2724"/>
                </a:lnTo>
                <a:lnTo>
                  <a:pt x="0" y="1160"/>
                </a:lnTo>
                <a:lnTo>
                  <a:pt x="0" y="1139"/>
                </a:lnTo>
                <a:lnTo>
                  <a:pt x="4" y="1121"/>
                </a:lnTo>
                <a:lnTo>
                  <a:pt x="9" y="1103"/>
                </a:lnTo>
                <a:lnTo>
                  <a:pt x="16" y="1087"/>
                </a:lnTo>
                <a:lnTo>
                  <a:pt x="23" y="1073"/>
                </a:lnTo>
                <a:lnTo>
                  <a:pt x="34" y="1059"/>
                </a:lnTo>
                <a:lnTo>
                  <a:pt x="45" y="1047"/>
                </a:lnTo>
                <a:lnTo>
                  <a:pt x="57" y="1035"/>
                </a:lnTo>
                <a:lnTo>
                  <a:pt x="71" y="1025"/>
                </a:lnTo>
                <a:lnTo>
                  <a:pt x="87" y="1016"/>
                </a:lnTo>
                <a:lnTo>
                  <a:pt x="103" y="1007"/>
                </a:lnTo>
                <a:lnTo>
                  <a:pt x="121" y="998"/>
                </a:lnTo>
                <a:lnTo>
                  <a:pt x="157" y="982"/>
                </a:lnTo>
                <a:lnTo>
                  <a:pt x="196" y="968"/>
                </a:lnTo>
                <a:lnTo>
                  <a:pt x="592" y="823"/>
                </a:lnTo>
                <a:lnTo>
                  <a:pt x="719" y="1576"/>
                </a:lnTo>
                <a:lnTo>
                  <a:pt x="780" y="1033"/>
                </a:lnTo>
                <a:lnTo>
                  <a:pt x="766" y="1025"/>
                </a:lnTo>
                <a:lnTo>
                  <a:pt x="753" y="1016"/>
                </a:lnTo>
                <a:lnTo>
                  <a:pt x="741" y="1004"/>
                </a:lnTo>
                <a:lnTo>
                  <a:pt x="732" y="991"/>
                </a:lnTo>
                <a:lnTo>
                  <a:pt x="831" y="898"/>
                </a:lnTo>
                <a:lnTo>
                  <a:pt x="930" y="991"/>
                </a:lnTo>
                <a:lnTo>
                  <a:pt x="920" y="1004"/>
                </a:lnTo>
                <a:lnTo>
                  <a:pt x="909" y="1016"/>
                </a:lnTo>
                <a:lnTo>
                  <a:pt x="897" y="1025"/>
                </a:lnTo>
                <a:lnTo>
                  <a:pt x="883" y="1033"/>
                </a:lnTo>
                <a:lnTo>
                  <a:pt x="943" y="1576"/>
                </a:lnTo>
                <a:lnTo>
                  <a:pt x="1070" y="823"/>
                </a:lnTo>
                <a:lnTo>
                  <a:pt x="1466" y="968"/>
                </a:lnTo>
                <a:lnTo>
                  <a:pt x="1505" y="982"/>
                </a:lnTo>
                <a:lnTo>
                  <a:pt x="1540" y="998"/>
                </a:lnTo>
                <a:lnTo>
                  <a:pt x="1555" y="1007"/>
                </a:lnTo>
                <a:lnTo>
                  <a:pt x="1571" y="1016"/>
                </a:lnTo>
                <a:lnTo>
                  <a:pt x="1584" y="1025"/>
                </a:lnTo>
                <a:lnTo>
                  <a:pt x="1597" y="1037"/>
                </a:lnTo>
                <a:lnTo>
                  <a:pt x="1610" y="1047"/>
                </a:lnTo>
                <a:lnTo>
                  <a:pt x="1620" y="1060"/>
                </a:lnTo>
                <a:lnTo>
                  <a:pt x="1631" y="1073"/>
                </a:lnTo>
                <a:lnTo>
                  <a:pt x="1638" y="1087"/>
                </a:lnTo>
                <a:lnTo>
                  <a:pt x="1646" y="1104"/>
                </a:lnTo>
                <a:lnTo>
                  <a:pt x="1653" y="1121"/>
                </a:lnTo>
                <a:lnTo>
                  <a:pt x="1658" y="1139"/>
                </a:lnTo>
                <a:lnTo>
                  <a:pt x="1663" y="1160"/>
                </a:lnTo>
                <a:lnTo>
                  <a:pt x="1842" y="2208"/>
                </a:lnTo>
                <a:lnTo>
                  <a:pt x="1422" y="2208"/>
                </a:lnTo>
                <a:lnTo>
                  <a:pt x="1449" y="2260"/>
                </a:lnTo>
                <a:lnTo>
                  <a:pt x="1850" y="2260"/>
                </a:lnTo>
                <a:lnTo>
                  <a:pt x="1850" y="2321"/>
                </a:lnTo>
                <a:lnTo>
                  <a:pt x="1733" y="2321"/>
                </a:lnTo>
                <a:lnTo>
                  <a:pt x="1422" y="2321"/>
                </a:lnTo>
                <a:lnTo>
                  <a:pt x="1340" y="2163"/>
                </a:lnTo>
                <a:lnTo>
                  <a:pt x="1333" y="2154"/>
                </a:lnTo>
                <a:lnTo>
                  <a:pt x="1328" y="2144"/>
                </a:lnTo>
                <a:lnTo>
                  <a:pt x="1322" y="2137"/>
                </a:lnTo>
                <a:lnTo>
                  <a:pt x="1315" y="2130"/>
                </a:lnTo>
                <a:lnTo>
                  <a:pt x="1301" y="2118"/>
                </a:lnTo>
                <a:lnTo>
                  <a:pt x="1287" y="2111"/>
                </a:lnTo>
                <a:lnTo>
                  <a:pt x="1272" y="2105"/>
                </a:lnTo>
                <a:lnTo>
                  <a:pt x="1258" y="2103"/>
                </a:lnTo>
                <a:lnTo>
                  <a:pt x="1244" y="2102"/>
                </a:lnTo>
                <a:lnTo>
                  <a:pt x="1229" y="2104"/>
                </a:lnTo>
                <a:lnTo>
                  <a:pt x="1215" y="2107"/>
                </a:lnTo>
                <a:lnTo>
                  <a:pt x="1203" y="2111"/>
                </a:lnTo>
                <a:lnTo>
                  <a:pt x="1192" y="2116"/>
                </a:lnTo>
                <a:lnTo>
                  <a:pt x="1183" y="2122"/>
                </a:lnTo>
                <a:lnTo>
                  <a:pt x="1174" y="2129"/>
                </a:lnTo>
                <a:lnTo>
                  <a:pt x="1168" y="2135"/>
                </a:lnTo>
                <a:lnTo>
                  <a:pt x="1165" y="2141"/>
                </a:lnTo>
                <a:lnTo>
                  <a:pt x="1162" y="2147"/>
                </a:lnTo>
                <a:lnTo>
                  <a:pt x="1157" y="2387"/>
                </a:lnTo>
                <a:lnTo>
                  <a:pt x="1157" y="2402"/>
                </a:lnTo>
                <a:lnTo>
                  <a:pt x="1159" y="2415"/>
                </a:lnTo>
                <a:lnTo>
                  <a:pt x="1162" y="2428"/>
                </a:lnTo>
                <a:lnTo>
                  <a:pt x="1166" y="2439"/>
                </a:lnTo>
                <a:lnTo>
                  <a:pt x="1171" y="2450"/>
                </a:lnTo>
                <a:lnTo>
                  <a:pt x="1176" y="2460"/>
                </a:lnTo>
                <a:lnTo>
                  <a:pt x="1184" y="2469"/>
                </a:lnTo>
                <a:lnTo>
                  <a:pt x="1192" y="2478"/>
                </a:lnTo>
                <a:lnTo>
                  <a:pt x="1200" y="2486"/>
                </a:lnTo>
                <a:lnTo>
                  <a:pt x="1210" y="2494"/>
                </a:lnTo>
                <a:lnTo>
                  <a:pt x="1220" y="2500"/>
                </a:lnTo>
                <a:lnTo>
                  <a:pt x="1231" y="2506"/>
                </a:lnTo>
                <a:lnTo>
                  <a:pt x="1242" y="2511"/>
                </a:lnTo>
                <a:lnTo>
                  <a:pt x="1254" y="2516"/>
                </a:lnTo>
                <a:lnTo>
                  <a:pt x="1279" y="2522"/>
                </a:lnTo>
                <a:lnTo>
                  <a:pt x="1305" y="2526"/>
                </a:lnTo>
                <a:lnTo>
                  <a:pt x="1332" y="2528"/>
                </a:lnTo>
                <a:lnTo>
                  <a:pt x="1359" y="2526"/>
                </a:lnTo>
                <a:lnTo>
                  <a:pt x="1385" y="2522"/>
                </a:lnTo>
                <a:lnTo>
                  <a:pt x="1411" y="2515"/>
                </a:lnTo>
                <a:lnTo>
                  <a:pt x="1437" y="2506"/>
                </a:lnTo>
                <a:lnTo>
                  <a:pt x="1459" y="2495"/>
                </a:lnTo>
                <a:lnTo>
                  <a:pt x="1471" y="2489"/>
                </a:lnTo>
                <a:lnTo>
                  <a:pt x="1480" y="2481"/>
                </a:lnTo>
                <a:lnTo>
                  <a:pt x="1620" y="2373"/>
                </a:lnTo>
                <a:lnTo>
                  <a:pt x="1705" y="2373"/>
                </a:lnTo>
                <a:lnTo>
                  <a:pt x="1512" y="2522"/>
                </a:lnTo>
                <a:lnTo>
                  <a:pt x="1498" y="2532"/>
                </a:lnTo>
                <a:lnTo>
                  <a:pt x="1483" y="2541"/>
                </a:lnTo>
                <a:lnTo>
                  <a:pt x="1464" y="2548"/>
                </a:lnTo>
                <a:lnTo>
                  <a:pt x="1446" y="2556"/>
                </a:lnTo>
                <a:lnTo>
                  <a:pt x="1345" y="4763"/>
                </a:lnTo>
                <a:lnTo>
                  <a:pt x="909" y="4763"/>
                </a:lnTo>
                <a:lnTo>
                  <a:pt x="909" y="2771"/>
                </a:lnTo>
                <a:lnTo>
                  <a:pt x="857" y="2771"/>
                </a:lnTo>
                <a:lnTo>
                  <a:pt x="857" y="4763"/>
                </a:lnTo>
                <a:lnTo>
                  <a:pt x="421" y="4763"/>
                </a:lnTo>
                <a:lnTo>
                  <a:pt x="352" y="3267"/>
                </a:lnTo>
                <a:close/>
                <a:moveTo>
                  <a:pt x="1106" y="2321"/>
                </a:moveTo>
                <a:lnTo>
                  <a:pt x="645" y="2321"/>
                </a:lnTo>
                <a:lnTo>
                  <a:pt x="645" y="2372"/>
                </a:lnTo>
                <a:lnTo>
                  <a:pt x="1105" y="2372"/>
                </a:lnTo>
                <a:lnTo>
                  <a:pt x="1106" y="2321"/>
                </a:lnTo>
                <a:close/>
                <a:moveTo>
                  <a:pt x="1109" y="2208"/>
                </a:moveTo>
                <a:lnTo>
                  <a:pt x="645" y="2208"/>
                </a:lnTo>
                <a:lnTo>
                  <a:pt x="645" y="2260"/>
                </a:lnTo>
                <a:lnTo>
                  <a:pt x="1107" y="2260"/>
                </a:lnTo>
                <a:lnTo>
                  <a:pt x="1109" y="2208"/>
                </a:lnTo>
                <a:close/>
                <a:moveTo>
                  <a:pt x="1393" y="2152"/>
                </a:moveTo>
                <a:lnTo>
                  <a:pt x="1773" y="2152"/>
                </a:lnTo>
                <a:lnTo>
                  <a:pt x="1606" y="1820"/>
                </a:lnTo>
                <a:lnTo>
                  <a:pt x="660" y="1820"/>
                </a:lnTo>
                <a:lnTo>
                  <a:pt x="640" y="2152"/>
                </a:lnTo>
                <a:lnTo>
                  <a:pt x="1110" y="2152"/>
                </a:lnTo>
                <a:lnTo>
                  <a:pt x="1110" y="2146"/>
                </a:lnTo>
                <a:lnTo>
                  <a:pt x="1111" y="2134"/>
                </a:lnTo>
                <a:lnTo>
                  <a:pt x="1114" y="2124"/>
                </a:lnTo>
                <a:lnTo>
                  <a:pt x="1116" y="2115"/>
                </a:lnTo>
                <a:lnTo>
                  <a:pt x="1120" y="2105"/>
                </a:lnTo>
                <a:lnTo>
                  <a:pt x="1126" y="2096"/>
                </a:lnTo>
                <a:lnTo>
                  <a:pt x="1132" y="2089"/>
                </a:lnTo>
                <a:lnTo>
                  <a:pt x="1139" y="2082"/>
                </a:lnTo>
                <a:lnTo>
                  <a:pt x="1146" y="2076"/>
                </a:lnTo>
                <a:lnTo>
                  <a:pt x="1154" y="2070"/>
                </a:lnTo>
                <a:lnTo>
                  <a:pt x="1163" y="2065"/>
                </a:lnTo>
                <a:lnTo>
                  <a:pt x="1172" y="2061"/>
                </a:lnTo>
                <a:lnTo>
                  <a:pt x="1183" y="2059"/>
                </a:lnTo>
                <a:lnTo>
                  <a:pt x="1203" y="2054"/>
                </a:lnTo>
                <a:lnTo>
                  <a:pt x="1226" y="2052"/>
                </a:lnTo>
                <a:lnTo>
                  <a:pt x="1249" y="2054"/>
                </a:lnTo>
                <a:lnTo>
                  <a:pt x="1271" y="2057"/>
                </a:lnTo>
                <a:lnTo>
                  <a:pt x="1294" y="2064"/>
                </a:lnTo>
                <a:lnTo>
                  <a:pt x="1316" y="2073"/>
                </a:lnTo>
                <a:lnTo>
                  <a:pt x="1327" y="2078"/>
                </a:lnTo>
                <a:lnTo>
                  <a:pt x="1337" y="2085"/>
                </a:lnTo>
                <a:lnTo>
                  <a:pt x="1346" y="2092"/>
                </a:lnTo>
                <a:lnTo>
                  <a:pt x="1355" y="2100"/>
                </a:lnTo>
                <a:lnTo>
                  <a:pt x="1364" y="2108"/>
                </a:lnTo>
                <a:lnTo>
                  <a:pt x="1372" y="2117"/>
                </a:lnTo>
                <a:lnTo>
                  <a:pt x="1379" y="2128"/>
                </a:lnTo>
                <a:lnTo>
                  <a:pt x="1385" y="2138"/>
                </a:lnTo>
                <a:lnTo>
                  <a:pt x="1393" y="2152"/>
                </a:lnTo>
                <a:close/>
                <a:moveTo>
                  <a:pt x="1114" y="504"/>
                </a:moveTo>
                <a:lnTo>
                  <a:pt x="1114" y="504"/>
                </a:lnTo>
                <a:lnTo>
                  <a:pt x="1109" y="531"/>
                </a:lnTo>
                <a:lnTo>
                  <a:pt x="1102" y="557"/>
                </a:lnTo>
                <a:lnTo>
                  <a:pt x="1093" y="583"/>
                </a:lnTo>
                <a:lnTo>
                  <a:pt x="1081" y="607"/>
                </a:lnTo>
                <a:lnTo>
                  <a:pt x="1068" y="630"/>
                </a:lnTo>
                <a:lnTo>
                  <a:pt x="1054" y="651"/>
                </a:lnTo>
                <a:lnTo>
                  <a:pt x="1039" y="672"/>
                </a:lnTo>
                <a:lnTo>
                  <a:pt x="1022" y="690"/>
                </a:lnTo>
                <a:lnTo>
                  <a:pt x="1002" y="707"/>
                </a:lnTo>
                <a:lnTo>
                  <a:pt x="981" y="721"/>
                </a:lnTo>
                <a:lnTo>
                  <a:pt x="961" y="734"/>
                </a:lnTo>
                <a:lnTo>
                  <a:pt x="939" y="746"/>
                </a:lnTo>
                <a:lnTo>
                  <a:pt x="914" y="755"/>
                </a:lnTo>
                <a:lnTo>
                  <a:pt x="889" y="760"/>
                </a:lnTo>
                <a:lnTo>
                  <a:pt x="865" y="764"/>
                </a:lnTo>
                <a:lnTo>
                  <a:pt x="839" y="765"/>
                </a:lnTo>
                <a:lnTo>
                  <a:pt x="813" y="764"/>
                </a:lnTo>
                <a:lnTo>
                  <a:pt x="787" y="760"/>
                </a:lnTo>
                <a:lnTo>
                  <a:pt x="762" y="753"/>
                </a:lnTo>
                <a:lnTo>
                  <a:pt x="739" y="746"/>
                </a:lnTo>
                <a:lnTo>
                  <a:pt x="715" y="734"/>
                </a:lnTo>
                <a:lnTo>
                  <a:pt x="695" y="721"/>
                </a:lnTo>
                <a:lnTo>
                  <a:pt x="674" y="707"/>
                </a:lnTo>
                <a:lnTo>
                  <a:pt x="656" y="690"/>
                </a:lnTo>
                <a:lnTo>
                  <a:pt x="637" y="670"/>
                </a:lnTo>
                <a:lnTo>
                  <a:pt x="622" y="651"/>
                </a:lnTo>
                <a:lnTo>
                  <a:pt x="608" y="629"/>
                </a:lnTo>
                <a:lnTo>
                  <a:pt x="595" y="607"/>
                </a:lnTo>
                <a:lnTo>
                  <a:pt x="584" y="582"/>
                </a:lnTo>
                <a:lnTo>
                  <a:pt x="575" y="557"/>
                </a:lnTo>
                <a:lnTo>
                  <a:pt x="567" y="530"/>
                </a:lnTo>
                <a:lnTo>
                  <a:pt x="563" y="503"/>
                </a:lnTo>
                <a:lnTo>
                  <a:pt x="557" y="492"/>
                </a:lnTo>
                <a:lnTo>
                  <a:pt x="552" y="479"/>
                </a:lnTo>
                <a:lnTo>
                  <a:pt x="547" y="468"/>
                </a:lnTo>
                <a:lnTo>
                  <a:pt x="543" y="455"/>
                </a:lnTo>
                <a:lnTo>
                  <a:pt x="540" y="442"/>
                </a:lnTo>
                <a:lnTo>
                  <a:pt x="537" y="427"/>
                </a:lnTo>
                <a:lnTo>
                  <a:pt x="536" y="413"/>
                </a:lnTo>
                <a:lnTo>
                  <a:pt x="536" y="397"/>
                </a:lnTo>
                <a:lnTo>
                  <a:pt x="536" y="179"/>
                </a:lnTo>
                <a:lnTo>
                  <a:pt x="537" y="168"/>
                </a:lnTo>
                <a:lnTo>
                  <a:pt x="540" y="156"/>
                </a:lnTo>
                <a:lnTo>
                  <a:pt x="544" y="143"/>
                </a:lnTo>
                <a:lnTo>
                  <a:pt x="549" y="131"/>
                </a:lnTo>
                <a:lnTo>
                  <a:pt x="557" y="119"/>
                </a:lnTo>
                <a:lnTo>
                  <a:pt x="566" y="109"/>
                </a:lnTo>
                <a:lnTo>
                  <a:pt x="575" y="97"/>
                </a:lnTo>
                <a:lnTo>
                  <a:pt x="587" y="87"/>
                </a:lnTo>
                <a:lnTo>
                  <a:pt x="598" y="77"/>
                </a:lnTo>
                <a:lnTo>
                  <a:pt x="613" y="68"/>
                </a:lnTo>
                <a:lnTo>
                  <a:pt x="626" y="58"/>
                </a:lnTo>
                <a:lnTo>
                  <a:pt x="641" y="49"/>
                </a:lnTo>
                <a:lnTo>
                  <a:pt x="657" y="42"/>
                </a:lnTo>
                <a:lnTo>
                  <a:pt x="672" y="34"/>
                </a:lnTo>
                <a:lnTo>
                  <a:pt x="689" y="27"/>
                </a:lnTo>
                <a:lnTo>
                  <a:pt x="708" y="21"/>
                </a:lnTo>
                <a:lnTo>
                  <a:pt x="724" y="16"/>
                </a:lnTo>
                <a:lnTo>
                  <a:pt x="743" y="10"/>
                </a:lnTo>
                <a:lnTo>
                  <a:pt x="759" y="6"/>
                </a:lnTo>
                <a:lnTo>
                  <a:pt x="778" y="4"/>
                </a:lnTo>
                <a:lnTo>
                  <a:pt x="796" y="1"/>
                </a:lnTo>
                <a:lnTo>
                  <a:pt x="813" y="0"/>
                </a:lnTo>
                <a:lnTo>
                  <a:pt x="831" y="0"/>
                </a:lnTo>
                <a:lnTo>
                  <a:pt x="848" y="1"/>
                </a:lnTo>
                <a:lnTo>
                  <a:pt x="865" y="3"/>
                </a:lnTo>
                <a:lnTo>
                  <a:pt x="880" y="5"/>
                </a:lnTo>
                <a:lnTo>
                  <a:pt x="896" y="9"/>
                </a:lnTo>
                <a:lnTo>
                  <a:pt x="910" y="16"/>
                </a:lnTo>
                <a:lnTo>
                  <a:pt x="924" y="22"/>
                </a:lnTo>
                <a:lnTo>
                  <a:pt x="937" y="30"/>
                </a:lnTo>
                <a:lnTo>
                  <a:pt x="949" y="39"/>
                </a:lnTo>
                <a:lnTo>
                  <a:pt x="959" y="49"/>
                </a:lnTo>
                <a:lnTo>
                  <a:pt x="971" y="45"/>
                </a:lnTo>
                <a:lnTo>
                  <a:pt x="983" y="42"/>
                </a:lnTo>
                <a:lnTo>
                  <a:pt x="993" y="39"/>
                </a:lnTo>
                <a:lnTo>
                  <a:pt x="1004" y="38"/>
                </a:lnTo>
                <a:lnTo>
                  <a:pt x="1014" y="38"/>
                </a:lnTo>
                <a:lnTo>
                  <a:pt x="1023" y="38"/>
                </a:lnTo>
                <a:lnTo>
                  <a:pt x="1032" y="39"/>
                </a:lnTo>
                <a:lnTo>
                  <a:pt x="1041" y="40"/>
                </a:lnTo>
                <a:lnTo>
                  <a:pt x="1049" y="43"/>
                </a:lnTo>
                <a:lnTo>
                  <a:pt x="1057" y="47"/>
                </a:lnTo>
                <a:lnTo>
                  <a:pt x="1065" y="51"/>
                </a:lnTo>
                <a:lnTo>
                  <a:pt x="1072" y="55"/>
                </a:lnTo>
                <a:lnTo>
                  <a:pt x="1085" y="66"/>
                </a:lnTo>
                <a:lnTo>
                  <a:pt x="1097" y="81"/>
                </a:lnTo>
                <a:lnTo>
                  <a:pt x="1107" y="97"/>
                </a:lnTo>
                <a:lnTo>
                  <a:pt x="1116" y="116"/>
                </a:lnTo>
                <a:lnTo>
                  <a:pt x="1124" y="135"/>
                </a:lnTo>
                <a:lnTo>
                  <a:pt x="1131" y="157"/>
                </a:lnTo>
                <a:lnTo>
                  <a:pt x="1135" y="181"/>
                </a:lnTo>
                <a:lnTo>
                  <a:pt x="1139" y="205"/>
                </a:lnTo>
                <a:lnTo>
                  <a:pt x="1140" y="230"/>
                </a:lnTo>
                <a:lnTo>
                  <a:pt x="1141" y="257"/>
                </a:lnTo>
                <a:lnTo>
                  <a:pt x="1141" y="397"/>
                </a:lnTo>
                <a:lnTo>
                  <a:pt x="1140" y="413"/>
                </a:lnTo>
                <a:lnTo>
                  <a:pt x="1139" y="427"/>
                </a:lnTo>
                <a:lnTo>
                  <a:pt x="1137" y="442"/>
                </a:lnTo>
                <a:lnTo>
                  <a:pt x="1133" y="455"/>
                </a:lnTo>
                <a:lnTo>
                  <a:pt x="1129" y="468"/>
                </a:lnTo>
                <a:lnTo>
                  <a:pt x="1126" y="481"/>
                </a:lnTo>
                <a:lnTo>
                  <a:pt x="1120" y="492"/>
                </a:lnTo>
                <a:lnTo>
                  <a:pt x="1114" y="504"/>
                </a:lnTo>
                <a:close/>
                <a:moveTo>
                  <a:pt x="619" y="313"/>
                </a:moveTo>
                <a:lnTo>
                  <a:pt x="619" y="313"/>
                </a:lnTo>
                <a:lnTo>
                  <a:pt x="615" y="329"/>
                </a:lnTo>
                <a:lnTo>
                  <a:pt x="613" y="346"/>
                </a:lnTo>
                <a:lnTo>
                  <a:pt x="611" y="362"/>
                </a:lnTo>
                <a:lnTo>
                  <a:pt x="611" y="379"/>
                </a:lnTo>
                <a:lnTo>
                  <a:pt x="611" y="455"/>
                </a:lnTo>
                <a:lnTo>
                  <a:pt x="611" y="471"/>
                </a:lnTo>
                <a:lnTo>
                  <a:pt x="613" y="488"/>
                </a:lnTo>
                <a:lnTo>
                  <a:pt x="615" y="505"/>
                </a:lnTo>
                <a:lnTo>
                  <a:pt x="619" y="522"/>
                </a:lnTo>
                <a:lnTo>
                  <a:pt x="623" y="538"/>
                </a:lnTo>
                <a:lnTo>
                  <a:pt x="628" y="553"/>
                </a:lnTo>
                <a:lnTo>
                  <a:pt x="635" y="569"/>
                </a:lnTo>
                <a:lnTo>
                  <a:pt x="641" y="583"/>
                </a:lnTo>
                <a:lnTo>
                  <a:pt x="649" y="597"/>
                </a:lnTo>
                <a:lnTo>
                  <a:pt x="657" y="610"/>
                </a:lnTo>
                <a:lnTo>
                  <a:pt x="667" y="625"/>
                </a:lnTo>
                <a:lnTo>
                  <a:pt x="676" y="636"/>
                </a:lnTo>
                <a:lnTo>
                  <a:pt x="688" y="648"/>
                </a:lnTo>
                <a:lnTo>
                  <a:pt x="698" y="659"/>
                </a:lnTo>
                <a:lnTo>
                  <a:pt x="711" y="669"/>
                </a:lnTo>
                <a:lnTo>
                  <a:pt x="723" y="678"/>
                </a:lnTo>
                <a:lnTo>
                  <a:pt x="736" y="686"/>
                </a:lnTo>
                <a:lnTo>
                  <a:pt x="750" y="694"/>
                </a:lnTo>
                <a:lnTo>
                  <a:pt x="763" y="699"/>
                </a:lnTo>
                <a:lnTo>
                  <a:pt x="778" y="704"/>
                </a:lnTo>
                <a:lnTo>
                  <a:pt x="793" y="708"/>
                </a:lnTo>
                <a:lnTo>
                  <a:pt x="808" y="712"/>
                </a:lnTo>
                <a:lnTo>
                  <a:pt x="823" y="713"/>
                </a:lnTo>
                <a:lnTo>
                  <a:pt x="839" y="713"/>
                </a:lnTo>
                <a:lnTo>
                  <a:pt x="854" y="713"/>
                </a:lnTo>
                <a:lnTo>
                  <a:pt x="869" y="712"/>
                </a:lnTo>
                <a:lnTo>
                  <a:pt x="884" y="708"/>
                </a:lnTo>
                <a:lnTo>
                  <a:pt x="898" y="704"/>
                </a:lnTo>
                <a:lnTo>
                  <a:pt x="913" y="699"/>
                </a:lnTo>
                <a:lnTo>
                  <a:pt x="927" y="694"/>
                </a:lnTo>
                <a:lnTo>
                  <a:pt x="940" y="686"/>
                </a:lnTo>
                <a:lnTo>
                  <a:pt x="953" y="678"/>
                </a:lnTo>
                <a:lnTo>
                  <a:pt x="966" y="669"/>
                </a:lnTo>
                <a:lnTo>
                  <a:pt x="978" y="660"/>
                </a:lnTo>
                <a:lnTo>
                  <a:pt x="988" y="648"/>
                </a:lnTo>
                <a:lnTo>
                  <a:pt x="1000" y="638"/>
                </a:lnTo>
                <a:lnTo>
                  <a:pt x="1009" y="625"/>
                </a:lnTo>
                <a:lnTo>
                  <a:pt x="1019" y="612"/>
                </a:lnTo>
                <a:lnTo>
                  <a:pt x="1027" y="599"/>
                </a:lnTo>
                <a:lnTo>
                  <a:pt x="1035" y="584"/>
                </a:lnTo>
                <a:lnTo>
                  <a:pt x="1042" y="569"/>
                </a:lnTo>
                <a:lnTo>
                  <a:pt x="1048" y="555"/>
                </a:lnTo>
                <a:lnTo>
                  <a:pt x="1053" y="539"/>
                </a:lnTo>
                <a:lnTo>
                  <a:pt x="1058" y="523"/>
                </a:lnTo>
                <a:lnTo>
                  <a:pt x="1061" y="507"/>
                </a:lnTo>
                <a:lnTo>
                  <a:pt x="1063" y="490"/>
                </a:lnTo>
                <a:lnTo>
                  <a:pt x="1065" y="471"/>
                </a:lnTo>
                <a:lnTo>
                  <a:pt x="1066" y="455"/>
                </a:lnTo>
                <a:lnTo>
                  <a:pt x="1066" y="379"/>
                </a:lnTo>
                <a:lnTo>
                  <a:pt x="1065" y="349"/>
                </a:lnTo>
                <a:lnTo>
                  <a:pt x="1059" y="320"/>
                </a:lnTo>
                <a:lnTo>
                  <a:pt x="1053" y="292"/>
                </a:lnTo>
                <a:lnTo>
                  <a:pt x="1042" y="266"/>
                </a:lnTo>
                <a:lnTo>
                  <a:pt x="1031" y="242"/>
                </a:lnTo>
                <a:lnTo>
                  <a:pt x="1017" y="218"/>
                </a:lnTo>
                <a:lnTo>
                  <a:pt x="1001" y="197"/>
                </a:lnTo>
                <a:lnTo>
                  <a:pt x="983" y="179"/>
                </a:lnTo>
                <a:lnTo>
                  <a:pt x="940" y="200"/>
                </a:lnTo>
                <a:lnTo>
                  <a:pt x="896" y="221"/>
                </a:lnTo>
                <a:lnTo>
                  <a:pt x="850" y="239"/>
                </a:lnTo>
                <a:lnTo>
                  <a:pt x="806" y="256"/>
                </a:lnTo>
                <a:lnTo>
                  <a:pt x="759" y="273"/>
                </a:lnTo>
                <a:lnTo>
                  <a:pt x="714" y="287"/>
                </a:lnTo>
                <a:lnTo>
                  <a:pt x="666" y="300"/>
                </a:lnTo>
                <a:lnTo>
                  <a:pt x="619" y="313"/>
                </a:ln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00B0F0"/>
              </a:solidFill>
              <a:latin typeface="+mn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697653" y="6495880"/>
            <a:ext cx="1671582" cy="246282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algn="ctr"/>
            <a:r>
              <a:rPr lang="ru-RU" sz="1400" b="1" dirty="0">
                <a:solidFill>
                  <a:srgbClr val="00B0F0"/>
                </a:solidFill>
              </a:rPr>
              <a:t>Инвесторы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96987" y="5579577"/>
            <a:ext cx="2033819" cy="115646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marL="216000" indent="-216000">
              <a:buAutoNum type="arabicPeriod"/>
            </a:pPr>
            <a:r>
              <a:rPr lang="ru-RU" b="1" dirty="0">
                <a:solidFill>
                  <a:srgbClr val="00B0F0"/>
                </a:solidFill>
              </a:rPr>
              <a:t>Выпуск ЦБ</a:t>
            </a:r>
          </a:p>
          <a:p>
            <a:pPr marL="216000" indent="-216000">
              <a:buAutoNum type="arabicPeriod"/>
            </a:pPr>
            <a:r>
              <a:rPr lang="ru-RU" b="1" dirty="0">
                <a:solidFill>
                  <a:srgbClr val="00B0F0"/>
                </a:solidFill>
              </a:rPr>
              <a:t>Выкуп ЦБ</a:t>
            </a:r>
          </a:p>
          <a:p>
            <a:pPr marL="216000" indent="-216000">
              <a:buAutoNum type="arabicPeriod"/>
            </a:pPr>
            <a:r>
              <a:rPr lang="ru-RU" b="1" dirty="0">
                <a:solidFill>
                  <a:srgbClr val="00B0F0"/>
                </a:solidFill>
              </a:rPr>
              <a:t>Покупка ЦБ</a:t>
            </a:r>
          </a:p>
          <a:p>
            <a:pPr marL="216000" indent="-216000">
              <a:buAutoNum type="arabicPeriod"/>
            </a:pPr>
            <a:r>
              <a:rPr lang="ru-RU" b="1" dirty="0">
                <a:solidFill>
                  <a:srgbClr val="00B0F0"/>
                </a:solidFill>
              </a:rPr>
              <a:t>Продажа ЦБ</a:t>
            </a:r>
          </a:p>
        </p:txBody>
      </p:sp>
      <p:cxnSp>
        <p:nvCxnSpPr>
          <p:cNvPr id="67" name="Прямая со стрелкой 66"/>
          <p:cNvCxnSpPr/>
          <p:nvPr/>
        </p:nvCxnSpPr>
        <p:spPr>
          <a:xfrm>
            <a:off x="3541677" y="2410882"/>
            <a:ext cx="576064" cy="0"/>
          </a:xfrm>
          <a:prstGeom prst="straightConnector1">
            <a:avLst/>
          </a:prstGeom>
          <a:ln w="15875">
            <a:solidFill>
              <a:srgbClr val="14AA96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>
            <a:off x="3541677" y="4427106"/>
            <a:ext cx="576064" cy="0"/>
          </a:xfrm>
          <a:prstGeom prst="straightConnector1">
            <a:avLst/>
          </a:prstGeom>
          <a:ln w="15875">
            <a:solidFill>
              <a:srgbClr val="F6BB42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/>
          <p:nvPr/>
        </p:nvCxnSpPr>
        <p:spPr>
          <a:xfrm>
            <a:off x="3541677" y="6227306"/>
            <a:ext cx="576064" cy="0"/>
          </a:xfrm>
          <a:prstGeom prst="straightConnector1">
            <a:avLst/>
          </a:prstGeom>
          <a:ln w="15875">
            <a:solidFill>
              <a:srgbClr val="00B0F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Freeform 92"/>
          <p:cNvSpPr>
            <a:spLocks noChangeAspect="1" noEditPoints="1"/>
          </p:cNvSpPr>
          <p:nvPr/>
        </p:nvSpPr>
        <p:spPr bwMode="auto">
          <a:xfrm>
            <a:off x="4186470" y="5581611"/>
            <a:ext cx="693648" cy="817750"/>
          </a:xfrm>
          <a:custGeom>
            <a:avLst/>
            <a:gdLst>
              <a:gd name="T0" fmla="*/ 2147483647 w 3994"/>
              <a:gd name="T1" fmla="*/ 2147483647 h 4711"/>
              <a:gd name="T2" fmla="*/ 2147483647 w 3994"/>
              <a:gd name="T3" fmla="*/ 2147483647 h 4711"/>
              <a:gd name="T4" fmla="*/ 2147483647 w 3994"/>
              <a:gd name="T5" fmla="*/ 2147483647 h 4711"/>
              <a:gd name="T6" fmla="*/ 2147483647 w 3994"/>
              <a:gd name="T7" fmla="*/ 2147483647 h 4711"/>
              <a:gd name="T8" fmla="*/ 2147483647 w 3994"/>
              <a:gd name="T9" fmla="*/ 2147483647 h 4711"/>
              <a:gd name="T10" fmla="*/ 2147483647 w 3994"/>
              <a:gd name="T11" fmla="*/ 2147483647 h 4711"/>
              <a:gd name="T12" fmla="*/ 2147483647 w 3994"/>
              <a:gd name="T13" fmla="*/ 2147483647 h 4711"/>
              <a:gd name="T14" fmla="*/ 2147483647 w 3994"/>
              <a:gd name="T15" fmla="*/ 2147483647 h 4711"/>
              <a:gd name="T16" fmla="*/ 2147483647 w 3994"/>
              <a:gd name="T17" fmla="*/ 2147483647 h 4711"/>
              <a:gd name="T18" fmla="*/ 2147483647 w 3994"/>
              <a:gd name="T19" fmla="*/ 2147483647 h 4711"/>
              <a:gd name="T20" fmla="*/ 2147483647 w 3994"/>
              <a:gd name="T21" fmla="*/ 2147483647 h 4711"/>
              <a:gd name="T22" fmla="*/ 2147483647 w 3994"/>
              <a:gd name="T23" fmla="*/ 2147483647 h 4711"/>
              <a:gd name="T24" fmla="*/ 2147483647 w 3994"/>
              <a:gd name="T25" fmla="*/ 2147483647 h 4711"/>
              <a:gd name="T26" fmla="*/ 2147483647 w 3994"/>
              <a:gd name="T27" fmla="*/ 2147483647 h 4711"/>
              <a:gd name="T28" fmla="*/ 2147483647 w 3994"/>
              <a:gd name="T29" fmla="*/ 2147483647 h 4711"/>
              <a:gd name="T30" fmla="*/ 2147483647 w 3994"/>
              <a:gd name="T31" fmla="*/ 2147483647 h 4711"/>
              <a:gd name="T32" fmla="*/ 2147483647 w 3994"/>
              <a:gd name="T33" fmla="*/ 2147483647 h 4711"/>
              <a:gd name="T34" fmla="*/ 2147483647 w 3994"/>
              <a:gd name="T35" fmla="*/ 2147483647 h 4711"/>
              <a:gd name="T36" fmla="*/ 2147483647 w 3994"/>
              <a:gd name="T37" fmla="*/ 2147483647 h 4711"/>
              <a:gd name="T38" fmla="*/ 2147483647 w 3994"/>
              <a:gd name="T39" fmla="*/ 2147483647 h 4711"/>
              <a:gd name="T40" fmla="*/ 2147483647 w 3994"/>
              <a:gd name="T41" fmla="*/ 2147483647 h 4711"/>
              <a:gd name="T42" fmla="*/ 2147483647 w 3994"/>
              <a:gd name="T43" fmla="*/ 2147483647 h 4711"/>
              <a:gd name="T44" fmla="*/ 2147483647 w 3994"/>
              <a:gd name="T45" fmla="*/ 2147483647 h 4711"/>
              <a:gd name="T46" fmla="*/ 2147483647 w 3994"/>
              <a:gd name="T47" fmla="*/ 2147483647 h 4711"/>
              <a:gd name="T48" fmla="*/ 2147483647 w 3994"/>
              <a:gd name="T49" fmla="*/ 2147483647 h 4711"/>
              <a:gd name="T50" fmla="*/ 2147483647 w 3994"/>
              <a:gd name="T51" fmla="*/ 2147483647 h 4711"/>
              <a:gd name="T52" fmla="*/ 2147483647 w 3994"/>
              <a:gd name="T53" fmla="*/ 2147483647 h 4711"/>
              <a:gd name="T54" fmla="*/ 2147483647 w 3994"/>
              <a:gd name="T55" fmla="*/ 2147483647 h 4711"/>
              <a:gd name="T56" fmla="*/ 2147483647 w 3994"/>
              <a:gd name="T57" fmla="*/ 2147483647 h 4711"/>
              <a:gd name="T58" fmla="*/ 2147483647 w 3994"/>
              <a:gd name="T59" fmla="*/ 2147483647 h 4711"/>
              <a:gd name="T60" fmla="*/ 2147483647 w 3994"/>
              <a:gd name="T61" fmla="*/ 2147483647 h 4711"/>
              <a:gd name="T62" fmla="*/ 2147483647 w 3994"/>
              <a:gd name="T63" fmla="*/ 2147483647 h 4711"/>
              <a:gd name="T64" fmla="*/ 2147483647 w 3994"/>
              <a:gd name="T65" fmla="*/ 2147483647 h 4711"/>
              <a:gd name="T66" fmla="*/ 2147483647 w 3994"/>
              <a:gd name="T67" fmla="*/ 2147483647 h 4711"/>
              <a:gd name="T68" fmla="*/ 2147483647 w 3994"/>
              <a:gd name="T69" fmla="*/ 2147483647 h 4711"/>
              <a:gd name="T70" fmla="*/ 2147483647 w 3994"/>
              <a:gd name="T71" fmla="*/ 2147483647 h 4711"/>
              <a:gd name="T72" fmla="*/ 2147483647 w 3994"/>
              <a:gd name="T73" fmla="*/ 2147483647 h 4711"/>
              <a:gd name="T74" fmla="*/ 2147483647 w 3994"/>
              <a:gd name="T75" fmla="*/ 2147483647 h 4711"/>
              <a:gd name="T76" fmla="*/ 2147483647 w 3994"/>
              <a:gd name="T77" fmla="*/ 2147483647 h 4711"/>
              <a:gd name="T78" fmla="*/ 2147483647 w 3994"/>
              <a:gd name="T79" fmla="*/ 2147483647 h 4711"/>
              <a:gd name="T80" fmla="*/ 2147483647 w 3994"/>
              <a:gd name="T81" fmla="*/ 2147483647 h 4711"/>
              <a:gd name="T82" fmla="*/ 2147483647 w 3994"/>
              <a:gd name="T83" fmla="*/ 2147483647 h 4711"/>
              <a:gd name="T84" fmla="*/ 2147483647 w 3994"/>
              <a:gd name="T85" fmla="*/ 2147483647 h 4711"/>
              <a:gd name="T86" fmla="*/ 2147483647 w 3994"/>
              <a:gd name="T87" fmla="*/ 2147483647 h 4711"/>
              <a:gd name="T88" fmla="*/ 2147483647 w 3994"/>
              <a:gd name="T89" fmla="*/ 2147483647 h 4711"/>
              <a:gd name="T90" fmla="*/ 2147483647 w 3994"/>
              <a:gd name="T91" fmla="*/ 2147483647 h 4711"/>
              <a:gd name="T92" fmla="*/ 2147483647 w 3994"/>
              <a:gd name="T93" fmla="*/ 2147483647 h 4711"/>
              <a:gd name="T94" fmla="*/ 2147483647 w 3994"/>
              <a:gd name="T95" fmla="*/ 2147483647 h 4711"/>
              <a:gd name="T96" fmla="*/ 2147483647 w 3994"/>
              <a:gd name="T97" fmla="*/ 2147483647 h 4711"/>
              <a:gd name="T98" fmla="*/ 2147483647 w 3994"/>
              <a:gd name="T99" fmla="*/ 2147483647 h 4711"/>
              <a:gd name="T100" fmla="*/ 2147483647 w 3994"/>
              <a:gd name="T101" fmla="*/ 2147483647 h 4711"/>
              <a:gd name="T102" fmla="*/ 2147483647 w 3994"/>
              <a:gd name="T103" fmla="*/ 2147483647 h 4711"/>
              <a:gd name="T104" fmla="*/ 2147483647 w 3994"/>
              <a:gd name="T105" fmla="*/ 2147483647 h 4711"/>
              <a:gd name="T106" fmla="*/ 2147483647 w 3994"/>
              <a:gd name="T107" fmla="*/ 2147483647 h 4711"/>
              <a:gd name="T108" fmla="*/ 2147483647 w 3994"/>
              <a:gd name="T109" fmla="*/ 2147483647 h 4711"/>
              <a:gd name="T110" fmla="*/ 2147483647 w 3994"/>
              <a:gd name="T111" fmla="*/ 2147483647 h 4711"/>
              <a:gd name="T112" fmla="*/ 2147483647 w 3994"/>
              <a:gd name="T113" fmla="*/ 2147483647 h 4711"/>
              <a:gd name="T114" fmla="*/ 2147483647 w 3994"/>
              <a:gd name="T115" fmla="*/ 2147483647 h 4711"/>
              <a:gd name="T116" fmla="*/ 2147483647 w 3994"/>
              <a:gd name="T117" fmla="*/ 2147483647 h 4711"/>
              <a:gd name="T118" fmla="*/ 2147483647 w 3994"/>
              <a:gd name="T119" fmla="*/ 2147483647 h 4711"/>
              <a:gd name="T120" fmla="*/ 2147483647 w 3994"/>
              <a:gd name="T121" fmla="*/ 2147483647 h 4711"/>
              <a:gd name="T122" fmla="*/ 2147483647 w 3994"/>
              <a:gd name="T123" fmla="*/ 2147483647 h 4711"/>
              <a:gd name="T124" fmla="*/ 2147483647 w 3994"/>
              <a:gd name="T125" fmla="*/ 2147483647 h 471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994"/>
              <a:gd name="T190" fmla="*/ 0 h 4711"/>
              <a:gd name="T191" fmla="*/ 3994 w 3994"/>
              <a:gd name="T192" fmla="*/ 4711 h 471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994" h="4711">
                <a:moveTo>
                  <a:pt x="1052" y="492"/>
                </a:moveTo>
                <a:lnTo>
                  <a:pt x="1052" y="563"/>
                </a:lnTo>
                <a:lnTo>
                  <a:pt x="1050" y="588"/>
                </a:lnTo>
                <a:lnTo>
                  <a:pt x="1048" y="613"/>
                </a:lnTo>
                <a:lnTo>
                  <a:pt x="1042" y="638"/>
                </a:lnTo>
                <a:lnTo>
                  <a:pt x="1035" y="660"/>
                </a:lnTo>
                <a:lnTo>
                  <a:pt x="1026" y="682"/>
                </a:lnTo>
                <a:lnTo>
                  <a:pt x="1015" y="701"/>
                </a:lnTo>
                <a:lnTo>
                  <a:pt x="1002" y="720"/>
                </a:lnTo>
                <a:lnTo>
                  <a:pt x="989" y="738"/>
                </a:lnTo>
                <a:lnTo>
                  <a:pt x="973" y="753"/>
                </a:lnTo>
                <a:lnTo>
                  <a:pt x="957" y="767"/>
                </a:lnTo>
                <a:lnTo>
                  <a:pt x="939" y="779"/>
                </a:lnTo>
                <a:lnTo>
                  <a:pt x="920" y="789"/>
                </a:lnTo>
                <a:lnTo>
                  <a:pt x="900" y="797"/>
                </a:lnTo>
                <a:lnTo>
                  <a:pt x="880" y="804"/>
                </a:lnTo>
                <a:lnTo>
                  <a:pt x="859" y="807"/>
                </a:lnTo>
                <a:lnTo>
                  <a:pt x="837" y="808"/>
                </a:lnTo>
                <a:lnTo>
                  <a:pt x="816" y="807"/>
                </a:lnTo>
                <a:lnTo>
                  <a:pt x="796" y="804"/>
                </a:lnTo>
                <a:lnTo>
                  <a:pt x="775" y="797"/>
                </a:lnTo>
                <a:lnTo>
                  <a:pt x="754" y="789"/>
                </a:lnTo>
                <a:lnTo>
                  <a:pt x="737" y="779"/>
                </a:lnTo>
                <a:lnTo>
                  <a:pt x="719" y="767"/>
                </a:lnTo>
                <a:lnTo>
                  <a:pt x="702" y="753"/>
                </a:lnTo>
                <a:lnTo>
                  <a:pt x="687" y="738"/>
                </a:lnTo>
                <a:lnTo>
                  <a:pt x="672" y="720"/>
                </a:lnTo>
                <a:lnTo>
                  <a:pt x="659" y="701"/>
                </a:lnTo>
                <a:lnTo>
                  <a:pt x="648" y="682"/>
                </a:lnTo>
                <a:lnTo>
                  <a:pt x="640" y="660"/>
                </a:lnTo>
                <a:lnTo>
                  <a:pt x="632" y="638"/>
                </a:lnTo>
                <a:lnTo>
                  <a:pt x="628" y="613"/>
                </a:lnTo>
                <a:lnTo>
                  <a:pt x="624" y="588"/>
                </a:lnTo>
                <a:lnTo>
                  <a:pt x="622" y="563"/>
                </a:lnTo>
                <a:lnTo>
                  <a:pt x="624" y="449"/>
                </a:lnTo>
                <a:lnTo>
                  <a:pt x="646" y="454"/>
                </a:lnTo>
                <a:lnTo>
                  <a:pt x="670" y="459"/>
                </a:lnTo>
                <a:lnTo>
                  <a:pt x="694" y="460"/>
                </a:lnTo>
                <a:lnTo>
                  <a:pt x="719" y="461"/>
                </a:lnTo>
                <a:lnTo>
                  <a:pt x="738" y="461"/>
                </a:lnTo>
                <a:lnTo>
                  <a:pt x="756" y="459"/>
                </a:lnTo>
                <a:lnTo>
                  <a:pt x="775" y="457"/>
                </a:lnTo>
                <a:lnTo>
                  <a:pt x="793" y="453"/>
                </a:lnTo>
                <a:lnTo>
                  <a:pt x="811" y="449"/>
                </a:lnTo>
                <a:lnTo>
                  <a:pt x="829" y="443"/>
                </a:lnTo>
                <a:lnTo>
                  <a:pt x="847" y="438"/>
                </a:lnTo>
                <a:lnTo>
                  <a:pt x="863" y="431"/>
                </a:lnTo>
                <a:lnTo>
                  <a:pt x="880" y="423"/>
                </a:lnTo>
                <a:lnTo>
                  <a:pt x="896" y="414"/>
                </a:lnTo>
                <a:lnTo>
                  <a:pt x="911" y="405"/>
                </a:lnTo>
                <a:lnTo>
                  <a:pt x="927" y="395"/>
                </a:lnTo>
                <a:lnTo>
                  <a:pt x="940" y="384"/>
                </a:lnTo>
                <a:lnTo>
                  <a:pt x="954" y="373"/>
                </a:lnTo>
                <a:lnTo>
                  <a:pt x="968" y="361"/>
                </a:lnTo>
                <a:lnTo>
                  <a:pt x="980" y="348"/>
                </a:lnTo>
                <a:lnTo>
                  <a:pt x="990" y="354"/>
                </a:lnTo>
                <a:lnTo>
                  <a:pt x="1001" y="361"/>
                </a:lnTo>
                <a:lnTo>
                  <a:pt x="1013" y="370"/>
                </a:lnTo>
                <a:lnTo>
                  <a:pt x="1019" y="376"/>
                </a:lnTo>
                <a:lnTo>
                  <a:pt x="1024" y="383"/>
                </a:lnTo>
                <a:lnTo>
                  <a:pt x="1030" y="391"/>
                </a:lnTo>
                <a:lnTo>
                  <a:pt x="1035" y="401"/>
                </a:lnTo>
                <a:lnTo>
                  <a:pt x="1039" y="412"/>
                </a:lnTo>
                <a:lnTo>
                  <a:pt x="1044" y="424"/>
                </a:lnTo>
                <a:lnTo>
                  <a:pt x="1048" y="438"/>
                </a:lnTo>
                <a:lnTo>
                  <a:pt x="1050" y="454"/>
                </a:lnTo>
                <a:lnTo>
                  <a:pt x="1052" y="471"/>
                </a:lnTo>
                <a:lnTo>
                  <a:pt x="1052" y="492"/>
                </a:lnTo>
                <a:close/>
                <a:moveTo>
                  <a:pt x="570" y="598"/>
                </a:moveTo>
                <a:lnTo>
                  <a:pt x="505" y="403"/>
                </a:lnTo>
                <a:lnTo>
                  <a:pt x="501" y="384"/>
                </a:lnTo>
                <a:lnTo>
                  <a:pt x="500" y="365"/>
                </a:lnTo>
                <a:lnTo>
                  <a:pt x="501" y="347"/>
                </a:lnTo>
                <a:lnTo>
                  <a:pt x="505" y="329"/>
                </a:lnTo>
                <a:lnTo>
                  <a:pt x="512" y="313"/>
                </a:lnTo>
                <a:lnTo>
                  <a:pt x="522" y="296"/>
                </a:lnTo>
                <a:lnTo>
                  <a:pt x="534" y="280"/>
                </a:lnTo>
                <a:lnTo>
                  <a:pt x="548" y="264"/>
                </a:lnTo>
                <a:lnTo>
                  <a:pt x="564" y="251"/>
                </a:lnTo>
                <a:lnTo>
                  <a:pt x="582" y="237"/>
                </a:lnTo>
                <a:lnTo>
                  <a:pt x="600" y="223"/>
                </a:lnTo>
                <a:lnTo>
                  <a:pt x="621" y="211"/>
                </a:lnTo>
                <a:lnTo>
                  <a:pt x="643" y="200"/>
                </a:lnTo>
                <a:lnTo>
                  <a:pt x="665" y="189"/>
                </a:lnTo>
                <a:lnTo>
                  <a:pt x="688" y="178"/>
                </a:lnTo>
                <a:lnTo>
                  <a:pt x="712" y="169"/>
                </a:lnTo>
                <a:lnTo>
                  <a:pt x="735" y="161"/>
                </a:lnTo>
                <a:lnTo>
                  <a:pt x="760" y="153"/>
                </a:lnTo>
                <a:lnTo>
                  <a:pt x="783" y="146"/>
                </a:lnTo>
                <a:lnTo>
                  <a:pt x="807" y="140"/>
                </a:lnTo>
                <a:lnTo>
                  <a:pt x="830" y="136"/>
                </a:lnTo>
                <a:lnTo>
                  <a:pt x="854" y="132"/>
                </a:lnTo>
                <a:lnTo>
                  <a:pt x="874" y="129"/>
                </a:lnTo>
                <a:lnTo>
                  <a:pt x="895" y="128"/>
                </a:lnTo>
                <a:lnTo>
                  <a:pt x="914" y="127"/>
                </a:lnTo>
                <a:lnTo>
                  <a:pt x="932" y="128"/>
                </a:lnTo>
                <a:lnTo>
                  <a:pt x="949" y="129"/>
                </a:lnTo>
                <a:lnTo>
                  <a:pt x="962" y="132"/>
                </a:lnTo>
                <a:lnTo>
                  <a:pt x="975" y="136"/>
                </a:lnTo>
                <a:lnTo>
                  <a:pt x="986" y="140"/>
                </a:lnTo>
                <a:lnTo>
                  <a:pt x="993" y="147"/>
                </a:lnTo>
                <a:lnTo>
                  <a:pt x="998" y="154"/>
                </a:lnTo>
                <a:lnTo>
                  <a:pt x="1013" y="187"/>
                </a:lnTo>
                <a:lnTo>
                  <a:pt x="1073" y="209"/>
                </a:lnTo>
                <a:lnTo>
                  <a:pt x="1082" y="215"/>
                </a:lnTo>
                <a:lnTo>
                  <a:pt x="1092" y="220"/>
                </a:lnTo>
                <a:lnTo>
                  <a:pt x="1100" y="227"/>
                </a:lnTo>
                <a:lnTo>
                  <a:pt x="1108" y="235"/>
                </a:lnTo>
                <a:lnTo>
                  <a:pt x="1117" y="245"/>
                </a:lnTo>
                <a:lnTo>
                  <a:pt x="1123" y="255"/>
                </a:lnTo>
                <a:lnTo>
                  <a:pt x="1129" y="267"/>
                </a:lnTo>
                <a:lnTo>
                  <a:pt x="1136" y="278"/>
                </a:lnTo>
                <a:lnTo>
                  <a:pt x="1140" y="292"/>
                </a:lnTo>
                <a:lnTo>
                  <a:pt x="1144" y="306"/>
                </a:lnTo>
                <a:lnTo>
                  <a:pt x="1147" y="319"/>
                </a:lnTo>
                <a:lnTo>
                  <a:pt x="1150" y="333"/>
                </a:lnTo>
                <a:lnTo>
                  <a:pt x="1150" y="348"/>
                </a:lnTo>
                <a:lnTo>
                  <a:pt x="1150" y="364"/>
                </a:lnTo>
                <a:lnTo>
                  <a:pt x="1148" y="379"/>
                </a:lnTo>
                <a:lnTo>
                  <a:pt x="1147" y="394"/>
                </a:lnTo>
                <a:lnTo>
                  <a:pt x="1107" y="587"/>
                </a:lnTo>
                <a:lnTo>
                  <a:pt x="1103" y="614"/>
                </a:lnTo>
                <a:lnTo>
                  <a:pt x="1097" y="642"/>
                </a:lnTo>
                <a:lnTo>
                  <a:pt x="1090" y="669"/>
                </a:lnTo>
                <a:lnTo>
                  <a:pt x="1081" y="694"/>
                </a:lnTo>
                <a:lnTo>
                  <a:pt x="1068" y="719"/>
                </a:lnTo>
                <a:lnTo>
                  <a:pt x="1055" y="741"/>
                </a:lnTo>
                <a:lnTo>
                  <a:pt x="1039" y="763"/>
                </a:lnTo>
                <a:lnTo>
                  <a:pt x="1022" y="782"/>
                </a:lnTo>
                <a:lnTo>
                  <a:pt x="1004" y="800"/>
                </a:lnTo>
                <a:lnTo>
                  <a:pt x="983" y="817"/>
                </a:lnTo>
                <a:lnTo>
                  <a:pt x="962" y="830"/>
                </a:lnTo>
                <a:lnTo>
                  <a:pt x="939" y="841"/>
                </a:lnTo>
                <a:lnTo>
                  <a:pt x="916" y="851"/>
                </a:lnTo>
                <a:lnTo>
                  <a:pt x="891" y="858"/>
                </a:lnTo>
                <a:lnTo>
                  <a:pt x="865" y="862"/>
                </a:lnTo>
                <a:lnTo>
                  <a:pt x="837" y="863"/>
                </a:lnTo>
                <a:lnTo>
                  <a:pt x="811" y="862"/>
                </a:lnTo>
                <a:lnTo>
                  <a:pt x="786" y="858"/>
                </a:lnTo>
                <a:lnTo>
                  <a:pt x="761" y="851"/>
                </a:lnTo>
                <a:lnTo>
                  <a:pt x="738" y="843"/>
                </a:lnTo>
                <a:lnTo>
                  <a:pt x="716" y="832"/>
                </a:lnTo>
                <a:lnTo>
                  <a:pt x="695" y="818"/>
                </a:lnTo>
                <a:lnTo>
                  <a:pt x="675" y="803"/>
                </a:lnTo>
                <a:lnTo>
                  <a:pt x="657" y="786"/>
                </a:lnTo>
                <a:lnTo>
                  <a:pt x="639" y="767"/>
                </a:lnTo>
                <a:lnTo>
                  <a:pt x="624" y="746"/>
                </a:lnTo>
                <a:lnTo>
                  <a:pt x="610" y="724"/>
                </a:lnTo>
                <a:lnTo>
                  <a:pt x="598" y="701"/>
                </a:lnTo>
                <a:lnTo>
                  <a:pt x="588" y="676"/>
                </a:lnTo>
                <a:lnTo>
                  <a:pt x="580" y="651"/>
                </a:lnTo>
                <a:lnTo>
                  <a:pt x="574" y="625"/>
                </a:lnTo>
                <a:lnTo>
                  <a:pt x="570" y="598"/>
                </a:lnTo>
                <a:close/>
                <a:moveTo>
                  <a:pt x="2740" y="2532"/>
                </a:moveTo>
                <a:lnTo>
                  <a:pt x="2740" y="2532"/>
                </a:lnTo>
                <a:lnTo>
                  <a:pt x="2748" y="2534"/>
                </a:lnTo>
                <a:lnTo>
                  <a:pt x="2755" y="2535"/>
                </a:lnTo>
                <a:lnTo>
                  <a:pt x="2760" y="2539"/>
                </a:lnTo>
                <a:lnTo>
                  <a:pt x="2767" y="2543"/>
                </a:lnTo>
                <a:lnTo>
                  <a:pt x="2771" y="2549"/>
                </a:lnTo>
                <a:lnTo>
                  <a:pt x="2774" y="2556"/>
                </a:lnTo>
                <a:lnTo>
                  <a:pt x="2777" y="2563"/>
                </a:lnTo>
                <a:lnTo>
                  <a:pt x="2777" y="2571"/>
                </a:lnTo>
                <a:lnTo>
                  <a:pt x="2777" y="2578"/>
                </a:lnTo>
                <a:lnTo>
                  <a:pt x="2774" y="2585"/>
                </a:lnTo>
                <a:lnTo>
                  <a:pt x="2771" y="2591"/>
                </a:lnTo>
                <a:lnTo>
                  <a:pt x="2767" y="2597"/>
                </a:lnTo>
                <a:lnTo>
                  <a:pt x="2760" y="2601"/>
                </a:lnTo>
                <a:lnTo>
                  <a:pt x="2755" y="2605"/>
                </a:lnTo>
                <a:lnTo>
                  <a:pt x="2748" y="2607"/>
                </a:lnTo>
                <a:lnTo>
                  <a:pt x="2740" y="2608"/>
                </a:lnTo>
                <a:lnTo>
                  <a:pt x="2733" y="2607"/>
                </a:lnTo>
                <a:lnTo>
                  <a:pt x="2726" y="2605"/>
                </a:lnTo>
                <a:lnTo>
                  <a:pt x="2719" y="2601"/>
                </a:lnTo>
                <a:lnTo>
                  <a:pt x="2714" y="2597"/>
                </a:lnTo>
                <a:lnTo>
                  <a:pt x="2709" y="2591"/>
                </a:lnTo>
                <a:lnTo>
                  <a:pt x="2705" y="2585"/>
                </a:lnTo>
                <a:lnTo>
                  <a:pt x="2703" y="2578"/>
                </a:lnTo>
                <a:lnTo>
                  <a:pt x="2703" y="2571"/>
                </a:lnTo>
                <a:lnTo>
                  <a:pt x="2703" y="2563"/>
                </a:lnTo>
                <a:lnTo>
                  <a:pt x="2705" y="2556"/>
                </a:lnTo>
                <a:lnTo>
                  <a:pt x="2709" y="2549"/>
                </a:lnTo>
                <a:lnTo>
                  <a:pt x="2714" y="2543"/>
                </a:lnTo>
                <a:lnTo>
                  <a:pt x="2719" y="2539"/>
                </a:lnTo>
                <a:lnTo>
                  <a:pt x="2726" y="2535"/>
                </a:lnTo>
                <a:lnTo>
                  <a:pt x="2733" y="2534"/>
                </a:lnTo>
                <a:lnTo>
                  <a:pt x="2740" y="2532"/>
                </a:lnTo>
                <a:close/>
                <a:moveTo>
                  <a:pt x="1256" y="2571"/>
                </a:moveTo>
                <a:lnTo>
                  <a:pt x="1256" y="2571"/>
                </a:lnTo>
                <a:lnTo>
                  <a:pt x="1256" y="2578"/>
                </a:lnTo>
                <a:lnTo>
                  <a:pt x="1258" y="2585"/>
                </a:lnTo>
                <a:lnTo>
                  <a:pt x="1261" y="2591"/>
                </a:lnTo>
                <a:lnTo>
                  <a:pt x="1267" y="2597"/>
                </a:lnTo>
                <a:lnTo>
                  <a:pt x="1272" y="2601"/>
                </a:lnTo>
                <a:lnTo>
                  <a:pt x="1278" y="2605"/>
                </a:lnTo>
                <a:lnTo>
                  <a:pt x="1285" y="2607"/>
                </a:lnTo>
                <a:lnTo>
                  <a:pt x="1293" y="2608"/>
                </a:lnTo>
                <a:lnTo>
                  <a:pt x="1300" y="2607"/>
                </a:lnTo>
                <a:lnTo>
                  <a:pt x="1308" y="2605"/>
                </a:lnTo>
                <a:lnTo>
                  <a:pt x="1313" y="2601"/>
                </a:lnTo>
                <a:lnTo>
                  <a:pt x="1319" y="2597"/>
                </a:lnTo>
                <a:lnTo>
                  <a:pt x="1324" y="2591"/>
                </a:lnTo>
                <a:lnTo>
                  <a:pt x="1327" y="2585"/>
                </a:lnTo>
                <a:lnTo>
                  <a:pt x="1330" y="2578"/>
                </a:lnTo>
                <a:lnTo>
                  <a:pt x="1330" y="2571"/>
                </a:lnTo>
                <a:lnTo>
                  <a:pt x="1330" y="2563"/>
                </a:lnTo>
                <a:lnTo>
                  <a:pt x="1327" y="2556"/>
                </a:lnTo>
                <a:lnTo>
                  <a:pt x="1324" y="2549"/>
                </a:lnTo>
                <a:lnTo>
                  <a:pt x="1319" y="2543"/>
                </a:lnTo>
                <a:lnTo>
                  <a:pt x="1313" y="2539"/>
                </a:lnTo>
                <a:lnTo>
                  <a:pt x="1308" y="2535"/>
                </a:lnTo>
                <a:lnTo>
                  <a:pt x="1300" y="2534"/>
                </a:lnTo>
                <a:lnTo>
                  <a:pt x="1293" y="2532"/>
                </a:lnTo>
                <a:lnTo>
                  <a:pt x="1285" y="2534"/>
                </a:lnTo>
                <a:lnTo>
                  <a:pt x="1278" y="2535"/>
                </a:lnTo>
                <a:lnTo>
                  <a:pt x="1272" y="2539"/>
                </a:lnTo>
                <a:lnTo>
                  <a:pt x="1267" y="2543"/>
                </a:lnTo>
                <a:lnTo>
                  <a:pt x="1261" y="2549"/>
                </a:lnTo>
                <a:lnTo>
                  <a:pt x="1258" y="2556"/>
                </a:lnTo>
                <a:lnTo>
                  <a:pt x="1256" y="2563"/>
                </a:lnTo>
                <a:lnTo>
                  <a:pt x="1256" y="2571"/>
                </a:lnTo>
                <a:close/>
                <a:moveTo>
                  <a:pt x="1251" y="2704"/>
                </a:moveTo>
                <a:lnTo>
                  <a:pt x="1505" y="3027"/>
                </a:lnTo>
                <a:lnTo>
                  <a:pt x="1486" y="2704"/>
                </a:lnTo>
                <a:lnTo>
                  <a:pt x="1251" y="2704"/>
                </a:lnTo>
                <a:close/>
                <a:moveTo>
                  <a:pt x="2785" y="2704"/>
                </a:moveTo>
                <a:lnTo>
                  <a:pt x="2546" y="2704"/>
                </a:lnTo>
                <a:lnTo>
                  <a:pt x="2526" y="3034"/>
                </a:lnTo>
                <a:lnTo>
                  <a:pt x="2785" y="2704"/>
                </a:lnTo>
                <a:close/>
                <a:moveTo>
                  <a:pt x="3814" y="2411"/>
                </a:moveTo>
                <a:lnTo>
                  <a:pt x="3636" y="2411"/>
                </a:lnTo>
                <a:lnTo>
                  <a:pt x="3704" y="2710"/>
                </a:lnTo>
                <a:lnTo>
                  <a:pt x="3814" y="2412"/>
                </a:lnTo>
                <a:lnTo>
                  <a:pt x="3814" y="2411"/>
                </a:lnTo>
                <a:close/>
                <a:moveTo>
                  <a:pt x="3072" y="1142"/>
                </a:moveTo>
                <a:lnTo>
                  <a:pt x="2858" y="1197"/>
                </a:lnTo>
                <a:lnTo>
                  <a:pt x="2858" y="2601"/>
                </a:lnTo>
                <a:lnTo>
                  <a:pt x="2939" y="2200"/>
                </a:lnTo>
                <a:lnTo>
                  <a:pt x="3552" y="2200"/>
                </a:lnTo>
                <a:lnTo>
                  <a:pt x="3552" y="1625"/>
                </a:lnTo>
                <a:lnTo>
                  <a:pt x="3581" y="1462"/>
                </a:lnTo>
                <a:lnTo>
                  <a:pt x="3635" y="1472"/>
                </a:lnTo>
                <a:lnTo>
                  <a:pt x="3607" y="1630"/>
                </a:lnTo>
                <a:lnTo>
                  <a:pt x="3607" y="2278"/>
                </a:lnTo>
                <a:lnTo>
                  <a:pt x="3624" y="2356"/>
                </a:lnTo>
                <a:lnTo>
                  <a:pt x="3811" y="2356"/>
                </a:lnTo>
                <a:lnTo>
                  <a:pt x="3750" y="1301"/>
                </a:lnTo>
                <a:lnTo>
                  <a:pt x="3749" y="1287"/>
                </a:lnTo>
                <a:lnTo>
                  <a:pt x="3743" y="1275"/>
                </a:lnTo>
                <a:lnTo>
                  <a:pt x="3737" y="1263"/>
                </a:lnTo>
                <a:lnTo>
                  <a:pt x="3727" y="1250"/>
                </a:lnTo>
                <a:lnTo>
                  <a:pt x="3715" y="1239"/>
                </a:lnTo>
                <a:lnTo>
                  <a:pt x="3701" y="1230"/>
                </a:lnTo>
                <a:lnTo>
                  <a:pt x="3686" y="1220"/>
                </a:lnTo>
                <a:lnTo>
                  <a:pt x="3668" y="1213"/>
                </a:lnTo>
                <a:lnTo>
                  <a:pt x="3471" y="1142"/>
                </a:lnTo>
                <a:lnTo>
                  <a:pt x="3388" y="1471"/>
                </a:lnTo>
                <a:lnTo>
                  <a:pt x="3385" y="1483"/>
                </a:lnTo>
                <a:lnTo>
                  <a:pt x="3381" y="1494"/>
                </a:lnTo>
                <a:lnTo>
                  <a:pt x="3376" y="1504"/>
                </a:lnTo>
                <a:lnTo>
                  <a:pt x="3370" y="1513"/>
                </a:lnTo>
                <a:lnTo>
                  <a:pt x="3363" y="1522"/>
                </a:lnTo>
                <a:lnTo>
                  <a:pt x="3357" y="1530"/>
                </a:lnTo>
                <a:lnTo>
                  <a:pt x="3350" y="1537"/>
                </a:lnTo>
                <a:lnTo>
                  <a:pt x="3341" y="1542"/>
                </a:lnTo>
                <a:lnTo>
                  <a:pt x="3333" y="1548"/>
                </a:lnTo>
                <a:lnTo>
                  <a:pt x="3325" y="1552"/>
                </a:lnTo>
                <a:lnTo>
                  <a:pt x="3307" y="1559"/>
                </a:lnTo>
                <a:lnTo>
                  <a:pt x="3289" y="1562"/>
                </a:lnTo>
                <a:lnTo>
                  <a:pt x="3270" y="1562"/>
                </a:lnTo>
                <a:lnTo>
                  <a:pt x="3251" y="1560"/>
                </a:lnTo>
                <a:lnTo>
                  <a:pt x="3233" y="1555"/>
                </a:lnTo>
                <a:lnTo>
                  <a:pt x="3215" y="1546"/>
                </a:lnTo>
                <a:lnTo>
                  <a:pt x="3198" y="1537"/>
                </a:lnTo>
                <a:lnTo>
                  <a:pt x="3183" y="1523"/>
                </a:lnTo>
                <a:lnTo>
                  <a:pt x="3178" y="1516"/>
                </a:lnTo>
                <a:lnTo>
                  <a:pt x="3171" y="1508"/>
                </a:lnTo>
                <a:lnTo>
                  <a:pt x="3165" y="1500"/>
                </a:lnTo>
                <a:lnTo>
                  <a:pt x="3161" y="1491"/>
                </a:lnTo>
                <a:lnTo>
                  <a:pt x="3157" y="1482"/>
                </a:lnTo>
                <a:lnTo>
                  <a:pt x="3154" y="1471"/>
                </a:lnTo>
                <a:lnTo>
                  <a:pt x="3072" y="1142"/>
                </a:lnTo>
                <a:close/>
                <a:moveTo>
                  <a:pt x="114" y="2687"/>
                </a:moveTo>
                <a:lnTo>
                  <a:pt x="179" y="2687"/>
                </a:lnTo>
                <a:lnTo>
                  <a:pt x="346" y="2687"/>
                </a:lnTo>
                <a:lnTo>
                  <a:pt x="295" y="1435"/>
                </a:lnTo>
                <a:lnTo>
                  <a:pt x="350" y="1433"/>
                </a:lnTo>
                <a:lnTo>
                  <a:pt x="392" y="2458"/>
                </a:lnTo>
                <a:lnTo>
                  <a:pt x="1179" y="2458"/>
                </a:lnTo>
                <a:lnTo>
                  <a:pt x="1179" y="1078"/>
                </a:lnTo>
                <a:lnTo>
                  <a:pt x="1035" y="1040"/>
                </a:lnTo>
                <a:lnTo>
                  <a:pt x="1082" y="938"/>
                </a:lnTo>
                <a:lnTo>
                  <a:pt x="1212" y="975"/>
                </a:lnTo>
                <a:lnTo>
                  <a:pt x="1227" y="958"/>
                </a:lnTo>
                <a:lnTo>
                  <a:pt x="1243" y="945"/>
                </a:lnTo>
                <a:lnTo>
                  <a:pt x="1261" y="932"/>
                </a:lnTo>
                <a:lnTo>
                  <a:pt x="1282" y="920"/>
                </a:lnTo>
                <a:lnTo>
                  <a:pt x="1304" y="909"/>
                </a:lnTo>
                <a:lnTo>
                  <a:pt x="1327" y="899"/>
                </a:lnTo>
                <a:lnTo>
                  <a:pt x="1378" y="880"/>
                </a:lnTo>
                <a:lnTo>
                  <a:pt x="1777" y="735"/>
                </a:lnTo>
                <a:lnTo>
                  <a:pt x="1907" y="1502"/>
                </a:lnTo>
                <a:lnTo>
                  <a:pt x="1973" y="949"/>
                </a:lnTo>
                <a:lnTo>
                  <a:pt x="1956" y="940"/>
                </a:lnTo>
                <a:lnTo>
                  <a:pt x="1941" y="931"/>
                </a:lnTo>
                <a:lnTo>
                  <a:pt x="1929" y="918"/>
                </a:lnTo>
                <a:lnTo>
                  <a:pt x="1919" y="905"/>
                </a:lnTo>
                <a:lnTo>
                  <a:pt x="2018" y="810"/>
                </a:lnTo>
                <a:lnTo>
                  <a:pt x="2117" y="905"/>
                </a:lnTo>
                <a:lnTo>
                  <a:pt x="2108" y="918"/>
                </a:lnTo>
                <a:lnTo>
                  <a:pt x="2094" y="931"/>
                </a:lnTo>
                <a:lnTo>
                  <a:pt x="2080" y="940"/>
                </a:lnTo>
                <a:lnTo>
                  <a:pt x="2064" y="949"/>
                </a:lnTo>
                <a:lnTo>
                  <a:pt x="2130" y="1502"/>
                </a:lnTo>
                <a:lnTo>
                  <a:pt x="2259" y="735"/>
                </a:lnTo>
                <a:lnTo>
                  <a:pt x="2659" y="880"/>
                </a:lnTo>
                <a:lnTo>
                  <a:pt x="2698" y="895"/>
                </a:lnTo>
                <a:lnTo>
                  <a:pt x="2736" y="910"/>
                </a:lnTo>
                <a:lnTo>
                  <a:pt x="2754" y="920"/>
                </a:lnTo>
                <a:lnTo>
                  <a:pt x="2770" y="928"/>
                </a:lnTo>
                <a:lnTo>
                  <a:pt x="2785" y="938"/>
                </a:lnTo>
                <a:lnTo>
                  <a:pt x="2799" y="949"/>
                </a:lnTo>
                <a:lnTo>
                  <a:pt x="2811" y="960"/>
                </a:lnTo>
                <a:lnTo>
                  <a:pt x="2824" y="972"/>
                </a:lnTo>
                <a:lnTo>
                  <a:pt x="2833" y="986"/>
                </a:lnTo>
                <a:lnTo>
                  <a:pt x="2842" y="1001"/>
                </a:lnTo>
                <a:lnTo>
                  <a:pt x="2849" y="1018"/>
                </a:lnTo>
                <a:lnTo>
                  <a:pt x="2854" y="1034"/>
                </a:lnTo>
                <a:lnTo>
                  <a:pt x="2857" y="1053"/>
                </a:lnTo>
                <a:lnTo>
                  <a:pt x="2858" y="1074"/>
                </a:lnTo>
                <a:lnTo>
                  <a:pt x="2858" y="1084"/>
                </a:lnTo>
                <a:lnTo>
                  <a:pt x="3098" y="1022"/>
                </a:lnTo>
                <a:lnTo>
                  <a:pt x="3208" y="1458"/>
                </a:lnTo>
                <a:lnTo>
                  <a:pt x="3212" y="1468"/>
                </a:lnTo>
                <a:lnTo>
                  <a:pt x="3218" y="1478"/>
                </a:lnTo>
                <a:lnTo>
                  <a:pt x="3224" y="1484"/>
                </a:lnTo>
                <a:lnTo>
                  <a:pt x="3231" y="1491"/>
                </a:lnTo>
                <a:lnTo>
                  <a:pt x="3241" y="1495"/>
                </a:lnTo>
                <a:lnTo>
                  <a:pt x="3251" y="1500"/>
                </a:lnTo>
                <a:lnTo>
                  <a:pt x="3262" y="1501"/>
                </a:lnTo>
                <a:lnTo>
                  <a:pt x="3271" y="1502"/>
                </a:lnTo>
                <a:lnTo>
                  <a:pt x="3282" y="1501"/>
                </a:lnTo>
                <a:lnTo>
                  <a:pt x="3292" y="1500"/>
                </a:lnTo>
                <a:lnTo>
                  <a:pt x="3301" y="1495"/>
                </a:lnTo>
                <a:lnTo>
                  <a:pt x="3311" y="1491"/>
                </a:lnTo>
                <a:lnTo>
                  <a:pt x="3319" y="1484"/>
                </a:lnTo>
                <a:lnTo>
                  <a:pt x="3326" y="1478"/>
                </a:lnTo>
                <a:lnTo>
                  <a:pt x="3332" y="1468"/>
                </a:lnTo>
                <a:lnTo>
                  <a:pt x="3335" y="1458"/>
                </a:lnTo>
                <a:lnTo>
                  <a:pt x="3446" y="1016"/>
                </a:lnTo>
                <a:lnTo>
                  <a:pt x="3719" y="1115"/>
                </a:lnTo>
                <a:lnTo>
                  <a:pt x="3732" y="1121"/>
                </a:lnTo>
                <a:lnTo>
                  <a:pt x="3748" y="1128"/>
                </a:lnTo>
                <a:lnTo>
                  <a:pt x="3761" y="1136"/>
                </a:lnTo>
                <a:lnTo>
                  <a:pt x="3774" y="1144"/>
                </a:lnTo>
                <a:lnTo>
                  <a:pt x="3786" y="1154"/>
                </a:lnTo>
                <a:lnTo>
                  <a:pt x="3797" y="1164"/>
                </a:lnTo>
                <a:lnTo>
                  <a:pt x="3808" y="1173"/>
                </a:lnTo>
                <a:lnTo>
                  <a:pt x="3818" y="1186"/>
                </a:lnTo>
                <a:lnTo>
                  <a:pt x="3826" y="1197"/>
                </a:lnTo>
                <a:lnTo>
                  <a:pt x="3834" y="1209"/>
                </a:lnTo>
                <a:lnTo>
                  <a:pt x="3841" y="1223"/>
                </a:lnTo>
                <a:lnTo>
                  <a:pt x="3848" y="1235"/>
                </a:lnTo>
                <a:lnTo>
                  <a:pt x="3852" y="1250"/>
                </a:lnTo>
                <a:lnTo>
                  <a:pt x="3856" y="1264"/>
                </a:lnTo>
                <a:lnTo>
                  <a:pt x="3859" y="1279"/>
                </a:lnTo>
                <a:lnTo>
                  <a:pt x="3860" y="1294"/>
                </a:lnTo>
                <a:lnTo>
                  <a:pt x="3925" y="2429"/>
                </a:lnTo>
                <a:lnTo>
                  <a:pt x="3796" y="2777"/>
                </a:lnTo>
                <a:lnTo>
                  <a:pt x="3994" y="3791"/>
                </a:lnTo>
                <a:lnTo>
                  <a:pt x="3943" y="3791"/>
                </a:lnTo>
                <a:lnTo>
                  <a:pt x="3657" y="3791"/>
                </a:lnTo>
                <a:lnTo>
                  <a:pt x="3529" y="4711"/>
                </a:lnTo>
                <a:lnTo>
                  <a:pt x="3417" y="4711"/>
                </a:lnTo>
                <a:lnTo>
                  <a:pt x="3545" y="3791"/>
                </a:lnTo>
                <a:lnTo>
                  <a:pt x="3304" y="3791"/>
                </a:lnTo>
                <a:lnTo>
                  <a:pt x="3299" y="4711"/>
                </a:lnTo>
                <a:lnTo>
                  <a:pt x="3244" y="4711"/>
                </a:lnTo>
                <a:lnTo>
                  <a:pt x="3249" y="3791"/>
                </a:lnTo>
                <a:lnTo>
                  <a:pt x="2970" y="3791"/>
                </a:lnTo>
                <a:lnTo>
                  <a:pt x="3098" y="4711"/>
                </a:lnTo>
                <a:lnTo>
                  <a:pt x="3043" y="4711"/>
                </a:lnTo>
                <a:lnTo>
                  <a:pt x="2915" y="3791"/>
                </a:lnTo>
                <a:lnTo>
                  <a:pt x="2613" y="3791"/>
                </a:lnTo>
                <a:lnTo>
                  <a:pt x="2829" y="2740"/>
                </a:lnTo>
                <a:lnTo>
                  <a:pt x="2519" y="3130"/>
                </a:lnTo>
                <a:lnTo>
                  <a:pt x="2424" y="4704"/>
                </a:lnTo>
                <a:lnTo>
                  <a:pt x="2043" y="4704"/>
                </a:lnTo>
                <a:lnTo>
                  <a:pt x="2043" y="2839"/>
                </a:lnTo>
                <a:lnTo>
                  <a:pt x="1988" y="2839"/>
                </a:lnTo>
                <a:lnTo>
                  <a:pt x="1988" y="4704"/>
                </a:lnTo>
                <a:lnTo>
                  <a:pt x="1607" y="4704"/>
                </a:lnTo>
                <a:lnTo>
                  <a:pt x="1512" y="3123"/>
                </a:lnTo>
                <a:lnTo>
                  <a:pt x="1348" y="2916"/>
                </a:lnTo>
                <a:lnTo>
                  <a:pt x="1231" y="4700"/>
                </a:lnTo>
                <a:lnTo>
                  <a:pt x="865" y="4700"/>
                </a:lnTo>
                <a:lnTo>
                  <a:pt x="865" y="2839"/>
                </a:lnTo>
                <a:lnTo>
                  <a:pt x="810" y="2839"/>
                </a:lnTo>
                <a:lnTo>
                  <a:pt x="810" y="4700"/>
                </a:lnTo>
                <a:lnTo>
                  <a:pt x="423" y="4700"/>
                </a:lnTo>
                <a:lnTo>
                  <a:pt x="304" y="3207"/>
                </a:lnTo>
                <a:lnTo>
                  <a:pt x="112" y="2797"/>
                </a:lnTo>
                <a:lnTo>
                  <a:pt x="0" y="2797"/>
                </a:lnTo>
                <a:lnTo>
                  <a:pt x="52" y="1274"/>
                </a:lnTo>
                <a:lnTo>
                  <a:pt x="54" y="1257"/>
                </a:lnTo>
                <a:lnTo>
                  <a:pt x="56" y="1242"/>
                </a:lnTo>
                <a:lnTo>
                  <a:pt x="59" y="1227"/>
                </a:lnTo>
                <a:lnTo>
                  <a:pt x="65" y="1212"/>
                </a:lnTo>
                <a:lnTo>
                  <a:pt x="70" y="1197"/>
                </a:lnTo>
                <a:lnTo>
                  <a:pt x="78" y="1183"/>
                </a:lnTo>
                <a:lnTo>
                  <a:pt x="87" y="1169"/>
                </a:lnTo>
                <a:lnTo>
                  <a:pt x="95" y="1157"/>
                </a:lnTo>
                <a:lnTo>
                  <a:pt x="106" y="1144"/>
                </a:lnTo>
                <a:lnTo>
                  <a:pt x="117" y="1133"/>
                </a:lnTo>
                <a:lnTo>
                  <a:pt x="128" y="1122"/>
                </a:lnTo>
                <a:lnTo>
                  <a:pt x="140" y="1113"/>
                </a:lnTo>
                <a:lnTo>
                  <a:pt x="154" y="1103"/>
                </a:lnTo>
                <a:lnTo>
                  <a:pt x="168" y="1096"/>
                </a:lnTo>
                <a:lnTo>
                  <a:pt x="183" y="1089"/>
                </a:lnTo>
                <a:lnTo>
                  <a:pt x="198" y="1084"/>
                </a:lnTo>
                <a:lnTo>
                  <a:pt x="596" y="951"/>
                </a:lnTo>
                <a:lnTo>
                  <a:pt x="643" y="1052"/>
                </a:lnTo>
                <a:lnTo>
                  <a:pt x="233" y="1188"/>
                </a:lnTo>
                <a:lnTo>
                  <a:pt x="218" y="1194"/>
                </a:lnTo>
                <a:lnTo>
                  <a:pt x="205" y="1202"/>
                </a:lnTo>
                <a:lnTo>
                  <a:pt x="193" y="1212"/>
                </a:lnTo>
                <a:lnTo>
                  <a:pt x="183" y="1224"/>
                </a:lnTo>
                <a:lnTo>
                  <a:pt x="175" y="1237"/>
                </a:lnTo>
                <a:lnTo>
                  <a:pt x="168" y="1249"/>
                </a:lnTo>
                <a:lnTo>
                  <a:pt x="164" y="1263"/>
                </a:lnTo>
                <a:lnTo>
                  <a:pt x="162" y="1278"/>
                </a:lnTo>
                <a:lnTo>
                  <a:pt x="114" y="2687"/>
                </a:lnTo>
                <a:close/>
                <a:moveTo>
                  <a:pt x="348" y="2742"/>
                </a:moveTo>
                <a:lnTo>
                  <a:pt x="205" y="2742"/>
                </a:lnTo>
                <a:lnTo>
                  <a:pt x="362" y="3069"/>
                </a:lnTo>
                <a:lnTo>
                  <a:pt x="348" y="2742"/>
                </a:lnTo>
                <a:close/>
                <a:moveTo>
                  <a:pt x="2211" y="209"/>
                </a:moveTo>
                <a:lnTo>
                  <a:pt x="2211" y="209"/>
                </a:lnTo>
                <a:lnTo>
                  <a:pt x="2206" y="194"/>
                </a:lnTo>
                <a:lnTo>
                  <a:pt x="2197" y="180"/>
                </a:lnTo>
                <a:lnTo>
                  <a:pt x="2188" y="167"/>
                </a:lnTo>
                <a:lnTo>
                  <a:pt x="2178" y="154"/>
                </a:lnTo>
                <a:lnTo>
                  <a:pt x="2168" y="143"/>
                </a:lnTo>
                <a:lnTo>
                  <a:pt x="2156" y="134"/>
                </a:lnTo>
                <a:lnTo>
                  <a:pt x="2145" y="125"/>
                </a:lnTo>
                <a:lnTo>
                  <a:pt x="2133" y="117"/>
                </a:lnTo>
                <a:lnTo>
                  <a:pt x="2122" y="132"/>
                </a:lnTo>
                <a:lnTo>
                  <a:pt x="2108" y="146"/>
                </a:lnTo>
                <a:lnTo>
                  <a:pt x="2094" y="158"/>
                </a:lnTo>
                <a:lnTo>
                  <a:pt x="2079" y="168"/>
                </a:lnTo>
                <a:lnTo>
                  <a:pt x="2064" y="176"/>
                </a:lnTo>
                <a:lnTo>
                  <a:pt x="2046" y="183"/>
                </a:lnTo>
                <a:lnTo>
                  <a:pt x="2029" y="186"/>
                </a:lnTo>
                <a:lnTo>
                  <a:pt x="2010" y="187"/>
                </a:lnTo>
                <a:lnTo>
                  <a:pt x="1992" y="186"/>
                </a:lnTo>
                <a:lnTo>
                  <a:pt x="1976" y="183"/>
                </a:lnTo>
                <a:lnTo>
                  <a:pt x="1959" y="178"/>
                </a:lnTo>
                <a:lnTo>
                  <a:pt x="1944" y="169"/>
                </a:lnTo>
                <a:lnTo>
                  <a:pt x="1929" y="160"/>
                </a:lnTo>
                <a:lnTo>
                  <a:pt x="1915" y="149"/>
                </a:lnTo>
                <a:lnTo>
                  <a:pt x="1903" y="136"/>
                </a:lnTo>
                <a:lnTo>
                  <a:pt x="1892" y="123"/>
                </a:lnTo>
                <a:lnTo>
                  <a:pt x="1881" y="129"/>
                </a:lnTo>
                <a:lnTo>
                  <a:pt x="1870" y="138"/>
                </a:lnTo>
                <a:lnTo>
                  <a:pt x="1859" y="147"/>
                </a:lnTo>
                <a:lnTo>
                  <a:pt x="1849" y="158"/>
                </a:lnTo>
                <a:lnTo>
                  <a:pt x="1841" y="171"/>
                </a:lnTo>
                <a:lnTo>
                  <a:pt x="1832" y="183"/>
                </a:lnTo>
                <a:lnTo>
                  <a:pt x="1826" y="197"/>
                </a:lnTo>
                <a:lnTo>
                  <a:pt x="1819" y="211"/>
                </a:lnTo>
                <a:lnTo>
                  <a:pt x="1815" y="227"/>
                </a:lnTo>
                <a:lnTo>
                  <a:pt x="1810" y="242"/>
                </a:lnTo>
                <a:lnTo>
                  <a:pt x="1808" y="259"/>
                </a:lnTo>
                <a:lnTo>
                  <a:pt x="1806" y="277"/>
                </a:lnTo>
                <a:lnTo>
                  <a:pt x="1806" y="365"/>
                </a:lnTo>
                <a:lnTo>
                  <a:pt x="1808" y="390"/>
                </a:lnTo>
                <a:lnTo>
                  <a:pt x="1810" y="414"/>
                </a:lnTo>
                <a:lnTo>
                  <a:pt x="1816" y="437"/>
                </a:lnTo>
                <a:lnTo>
                  <a:pt x="1823" y="460"/>
                </a:lnTo>
                <a:lnTo>
                  <a:pt x="1832" y="481"/>
                </a:lnTo>
                <a:lnTo>
                  <a:pt x="1842" y="500"/>
                </a:lnTo>
                <a:lnTo>
                  <a:pt x="1855" y="519"/>
                </a:lnTo>
                <a:lnTo>
                  <a:pt x="1868" y="536"/>
                </a:lnTo>
                <a:lnTo>
                  <a:pt x="1883" y="551"/>
                </a:lnTo>
                <a:lnTo>
                  <a:pt x="1900" y="565"/>
                </a:lnTo>
                <a:lnTo>
                  <a:pt x="1916" y="576"/>
                </a:lnTo>
                <a:lnTo>
                  <a:pt x="1936" y="587"/>
                </a:lnTo>
                <a:lnTo>
                  <a:pt x="1955" y="593"/>
                </a:lnTo>
                <a:lnTo>
                  <a:pt x="1974" y="599"/>
                </a:lnTo>
                <a:lnTo>
                  <a:pt x="1995" y="603"/>
                </a:lnTo>
                <a:lnTo>
                  <a:pt x="2016" y="604"/>
                </a:lnTo>
                <a:lnTo>
                  <a:pt x="2036" y="603"/>
                </a:lnTo>
                <a:lnTo>
                  <a:pt x="2057" y="599"/>
                </a:lnTo>
                <a:lnTo>
                  <a:pt x="2076" y="593"/>
                </a:lnTo>
                <a:lnTo>
                  <a:pt x="2095" y="587"/>
                </a:lnTo>
                <a:lnTo>
                  <a:pt x="2115" y="576"/>
                </a:lnTo>
                <a:lnTo>
                  <a:pt x="2131" y="565"/>
                </a:lnTo>
                <a:lnTo>
                  <a:pt x="2148" y="551"/>
                </a:lnTo>
                <a:lnTo>
                  <a:pt x="2163" y="536"/>
                </a:lnTo>
                <a:lnTo>
                  <a:pt x="2177" y="519"/>
                </a:lnTo>
                <a:lnTo>
                  <a:pt x="2189" y="500"/>
                </a:lnTo>
                <a:lnTo>
                  <a:pt x="2199" y="481"/>
                </a:lnTo>
                <a:lnTo>
                  <a:pt x="2208" y="460"/>
                </a:lnTo>
                <a:lnTo>
                  <a:pt x="2215" y="437"/>
                </a:lnTo>
                <a:lnTo>
                  <a:pt x="2221" y="414"/>
                </a:lnTo>
                <a:lnTo>
                  <a:pt x="2223" y="390"/>
                </a:lnTo>
                <a:lnTo>
                  <a:pt x="2225" y="365"/>
                </a:lnTo>
                <a:lnTo>
                  <a:pt x="2225" y="281"/>
                </a:lnTo>
                <a:lnTo>
                  <a:pt x="2223" y="262"/>
                </a:lnTo>
                <a:lnTo>
                  <a:pt x="2221" y="244"/>
                </a:lnTo>
                <a:lnTo>
                  <a:pt x="2217" y="226"/>
                </a:lnTo>
                <a:lnTo>
                  <a:pt x="2211" y="209"/>
                </a:lnTo>
                <a:close/>
                <a:moveTo>
                  <a:pt x="2016" y="0"/>
                </a:moveTo>
                <a:lnTo>
                  <a:pt x="2016" y="0"/>
                </a:lnTo>
                <a:lnTo>
                  <a:pt x="2043" y="1"/>
                </a:lnTo>
                <a:lnTo>
                  <a:pt x="2069" y="6"/>
                </a:lnTo>
                <a:lnTo>
                  <a:pt x="2095" y="14"/>
                </a:lnTo>
                <a:lnTo>
                  <a:pt x="2120" y="23"/>
                </a:lnTo>
                <a:lnTo>
                  <a:pt x="2144" y="36"/>
                </a:lnTo>
                <a:lnTo>
                  <a:pt x="2164" y="51"/>
                </a:lnTo>
                <a:lnTo>
                  <a:pt x="2185" y="67"/>
                </a:lnTo>
                <a:lnTo>
                  <a:pt x="2204" y="87"/>
                </a:lnTo>
                <a:lnTo>
                  <a:pt x="2221" y="109"/>
                </a:lnTo>
                <a:lnTo>
                  <a:pt x="2236" y="131"/>
                </a:lnTo>
                <a:lnTo>
                  <a:pt x="2248" y="156"/>
                </a:lnTo>
                <a:lnTo>
                  <a:pt x="2259" y="182"/>
                </a:lnTo>
                <a:lnTo>
                  <a:pt x="2269" y="208"/>
                </a:lnTo>
                <a:lnTo>
                  <a:pt x="2274" y="235"/>
                </a:lnTo>
                <a:lnTo>
                  <a:pt x="2279" y="264"/>
                </a:lnTo>
                <a:lnTo>
                  <a:pt x="2280" y="295"/>
                </a:lnTo>
                <a:lnTo>
                  <a:pt x="2280" y="365"/>
                </a:lnTo>
                <a:lnTo>
                  <a:pt x="2279" y="394"/>
                </a:lnTo>
                <a:lnTo>
                  <a:pt x="2274" y="423"/>
                </a:lnTo>
                <a:lnTo>
                  <a:pt x="2269" y="452"/>
                </a:lnTo>
                <a:lnTo>
                  <a:pt x="2259" y="478"/>
                </a:lnTo>
                <a:lnTo>
                  <a:pt x="2248" y="504"/>
                </a:lnTo>
                <a:lnTo>
                  <a:pt x="2236" y="527"/>
                </a:lnTo>
                <a:lnTo>
                  <a:pt x="2221" y="551"/>
                </a:lnTo>
                <a:lnTo>
                  <a:pt x="2204" y="571"/>
                </a:lnTo>
                <a:lnTo>
                  <a:pt x="2185" y="591"/>
                </a:lnTo>
                <a:lnTo>
                  <a:pt x="2164" y="609"/>
                </a:lnTo>
                <a:lnTo>
                  <a:pt x="2144" y="624"/>
                </a:lnTo>
                <a:lnTo>
                  <a:pt x="2120" y="636"/>
                </a:lnTo>
                <a:lnTo>
                  <a:pt x="2095" y="646"/>
                </a:lnTo>
                <a:lnTo>
                  <a:pt x="2069" y="653"/>
                </a:lnTo>
                <a:lnTo>
                  <a:pt x="2043" y="658"/>
                </a:lnTo>
                <a:lnTo>
                  <a:pt x="2016" y="660"/>
                </a:lnTo>
                <a:lnTo>
                  <a:pt x="1988" y="658"/>
                </a:lnTo>
                <a:lnTo>
                  <a:pt x="1962" y="653"/>
                </a:lnTo>
                <a:lnTo>
                  <a:pt x="1936" y="646"/>
                </a:lnTo>
                <a:lnTo>
                  <a:pt x="1911" y="636"/>
                </a:lnTo>
                <a:lnTo>
                  <a:pt x="1888" y="624"/>
                </a:lnTo>
                <a:lnTo>
                  <a:pt x="1867" y="609"/>
                </a:lnTo>
                <a:lnTo>
                  <a:pt x="1846" y="591"/>
                </a:lnTo>
                <a:lnTo>
                  <a:pt x="1827" y="571"/>
                </a:lnTo>
                <a:lnTo>
                  <a:pt x="1810" y="551"/>
                </a:lnTo>
                <a:lnTo>
                  <a:pt x="1795" y="527"/>
                </a:lnTo>
                <a:lnTo>
                  <a:pt x="1783" y="504"/>
                </a:lnTo>
                <a:lnTo>
                  <a:pt x="1772" y="478"/>
                </a:lnTo>
                <a:lnTo>
                  <a:pt x="1762" y="452"/>
                </a:lnTo>
                <a:lnTo>
                  <a:pt x="1757" y="423"/>
                </a:lnTo>
                <a:lnTo>
                  <a:pt x="1753" y="394"/>
                </a:lnTo>
                <a:lnTo>
                  <a:pt x="1751" y="365"/>
                </a:lnTo>
                <a:lnTo>
                  <a:pt x="1751" y="295"/>
                </a:lnTo>
                <a:lnTo>
                  <a:pt x="1753" y="264"/>
                </a:lnTo>
                <a:lnTo>
                  <a:pt x="1757" y="235"/>
                </a:lnTo>
                <a:lnTo>
                  <a:pt x="1762" y="208"/>
                </a:lnTo>
                <a:lnTo>
                  <a:pt x="1772" y="182"/>
                </a:lnTo>
                <a:lnTo>
                  <a:pt x="1783" y="156"/>
                </a:lnTo>
                <a:lnTo>
                  <a:pt x="1795" y="131"/>
                </a:lnTo>
                <a:lnTo>
                  <a:pt x="1810" y="109"/>
                </a:lnTo>
                <a:lnTo>
                  <a:pt x="1827" y="87"/>
                </a:lnTo>
                <a:lnTo>
                  <a:pt x="1846" y="67"/>
                </a:lnTo>
                <a:lnTo>
                  <a:pt x="1867" y="51"/>
                </a:lnTo>
                <a:lnTo>
                  <a:pt x="1888" y="36"/>
                </a:lnTo>
                <a:lnTo>
                  <a:pt x="1911" y="23"/>
                </a:lnTo>
                <a:lnTo>
                  <a:pt x="1936" y="14"/>
                </a:lnTo>
                <a:lnTo>
                  <a:pt x="1962" y="6"/>
                </a:lnTo>
                <a:lnTo>
                  <a:pt x="1988" y="1"/>
                </a:lnTo>
                <a:lnTo>
                  <a:pt x="2016" y="0"/>
                </a:lnTo>
                <a:close/>
                <a:moveTo>
                  <a:pt x="3508" y="792"/>
                </a:moveTo>
                <a:lnTo>
                  <a:pt x="3508" y="792"/>
                </a:lnTo>
                <a:lnTo>
                  <a:pt x="3526" y="800"/>
                </a:lnTo>
                <a:lnTo>
                  <a:pt x="3547" y="806"/>
                </a:lnTo>
                <a:lnTo>
                  <a:pt x="3567" y="808"/>
                </a:lnTo>
                <a:lnTo>
                  <a:pt x="3588" y="808"/>
                </a:lnTo>
                <a:lnTo>
                  <a:pt x="3591" y="807"/>
                </a:lnTo>
                <a:lnTo>
                  <a:pt x="3588" y="819"/>
                </a:lnTo>
                <a:lnTo>
                  <a:pt x="3585" y="830"/>
                </a:lnTo>
                <a:lnTo>
                  <a:pt x="3581" y="841"/>
                </a:lnTo>
                <a:lnTo>
                  <a:pt x="3577" y="852"/>
                </a:lnTo>
                <a:lnTo>
                  <a:pt x="3571" y="862"/>
                </a:lnTo>
                <a:lnTo>
                  <a:pt x="3564" y="872"/>
                </a:lnTo>
                <a:lnTo>
                  <a:pt x="3558" y="881"/>
                </a:lnTo>
                <a:lnTo>
                  <a:pt x="3549" y="890"/>
                </a:lnTo>
                <a:lnTo>
                  <a:pt x="3541" y="896"/>
                </a:lnTo>
                <a:lnTo>
                  <a:pt x="3533" y="903"/>
                </a:lnTo>
                <a:lnTo>
                  <a:pt x="3523" y="910"/>
                </a:lnTo>
                <a:lnTo>
                  <a:pt x="3512" y="914"/>
                </a:lnTo>
                <a:lnTo>
                  <a:pt x="3501" y="920"/>
                </a:lnTo>
                <a:lnTo>
                  <a:pt x="3490" y="923"/>
                </a:lnTo>
                <a:lnTo>
                  <a:pt x="3479" y="925"/>
                </a:lnTo>
                <a:lnTo>
                  <a:pt x="3467" y="927"/>
                </a:lnTo>
                <a:lnTo>
                  <a:pt x="3446" y="927"/>
                </a:lnTo>
                <a:lnTo>
                  <a:pt x="3425" y="924"/>
                </a:lnTo>
                <a:lnTo>
                  <a:pt x="3406" y="920"/>
                </a:lnTo>
                <a:lnTo>
                  <a:pt x="3388" y="912"/>
                </a:lnTo>
                <a:lnTo>
                  <a:pt x="3374" y="920"/>
                </a:lnTo>
                <a:lnTo>
                  <a:pt x="3359" y="927"/>
                </a:lnTo>
                <a:lnTo>
                  <a:pt x="3346" y="934"/>
                </a:lnTo>
                <a:lnTo>
                  <a:pt x="3329" y="938"/>
                </a:lnTo>
                <a:lnTo>
                  <a:pt x="3314" y="942"/>
                </a:lnTo>
                <a:lnTo>
                  <a:pt x="3297" y="945"/>
                </a:lnTo>
                <a:lnTo>
                  <a:pt x="3281" y="947"/>
                </a:lnTo>
                <a:lnTo>
                  <a:pt x="3264" y="947"/>
                </a:lnTo>
                <a:lnTo>
                  <a:pt x="3248" y="947"/>
                </a:lnTo>
                <a:lnTo>
                  <a:pt x="3231" y="945"/>
                </a:lnTo>
                <a:lnTo>
                  <a:pt x="3215" y="942"/>
                </a:lnTo>
                <a:lnTo>
                  <a:pt x="3200" y="938"/>
                </a:lnTo>
                <a:lnTo>
                  <a:pt x="3184" y="934"/>
                </a:lnTo>
                <a:lnTo>
                  <a:pt x="3169" y="927"/>
                </a:lnTo>
                <a:lnTo>
                  <a:pt x="3154" y="920"/>
                </a:lnTo>
                <a:lnTo>
                  <a:pt x="3140" y="912"/>
                </a:lnTo>
                <a:lnTo>
                  <a:pt x="3123" y="920"/>
                </a:lnTo>
                <a:lnTo>
                  <a:pt x="3103" y="924"/>
                </a:lnTo>
                <a:lnTo>
                  <a:pt x="3083" y="927"/>
                </a:lnTo>
                <a:lnTo>
                  <a:pt x="3063" y="927"/>
                </a:lnTo>
                <a:lnTo>
                  <a:pt x="3051" y="925"/>
                </a:lnTo>
                <a:lnTo>
                  <a:pt x="3039" y="923"/>
                </a:lnTo>
                <a:lnTo>
                  <a:pt x="3028" y="920"/>
                </a:lnTo>
                <a:lnTo>
                  <a:pt x="3016" y="914"/>
                </a:lnTo>
                <a:lnTo>
                  <a:pt x="3007" y="910"/>
                </a:lnTo>
                <a:lnTo>
                  <a:pt x="2997" y="903"/>
                </a:lnTo>
                <a:lnTo>
                  <a:pt x="2988" y="896"/>
                </a:lnTo>
                <a:lnTo>
                  <a:pt x="2979" y="890"/>
                </a:lnTo>
                <a:lnTo>
                  <a:pt x="2971" y="881"/>
                </a:lnTo>
                <a:lnTo>
                  <a:pt x="2964" y="872"/>
                </a:lnTo>
                <a:lnTo>
                  <a:pt x="2957" y="862"/>
                </a:lnTo>
                <a:lnTo>
                  <a:pt x="2952" y="852"/>
                </a:lnTo>
                <a:lnTo>
                  <a:pt x="2948" y="841"/>
                </a:lnTo>
                <a:lnTo>
                  <a:pt x="2944" y="830"/>
                </a:lnTo>
                <a:lnTo>
                  <a:pt x="2941" y="819"/>
                </a:lnTo>
                <a:lnTo>
                  <a:pt x="2939" y="807"/>
                </a:lnTo>
                <a:lnTo>
                  <a:pt x="2941" y="808"/>
                </a:lnTo>
                <a:lnTo>
                  <a:pt x="2963" y="808"/>
                </a:lnTo>
                <a:lnTo>
                  <a:pt x="2982" y="806"/>
                </a:lnTo>
                <a:lnTo>
                  <a:pt x="3003" y="800"/>
                </a:lnTo>
                <a:lnTo>
                  <a:pt x="3022" y="792"/>
                </a:lnTo>
                <a:lnTo>
                  <a:pt x="3012" y="777"/>
                </a:lnTo>
                <a:lnTo>
                  <a:pt x="3004" y="761"/>
                </a:lnTo>
                <a:lnTo>
                  <a:pt x="2997" y="745"/>
                </a:lnTo>
                <a:lnTo>
                  <a:pt x="2992" y="726"/>
                </a:lnTo>
                <a:lnTo>
                  <a:pt x="2988" y="706"/>
                </a:lnTo>
                <a:lnTo>
                  <a:pt x="2983" y="687"/>
                </a:lnTo>
                <a:lnTo>
                  <a:pt x="2982" y="665"/>
                </a:lnTo>
                <a:lnTo>
                  <a:pt x="2981" y="642"/>
                </a:lnTo>
                <a:lnTo>
                  <a:pt x="2981" y="574"/>
                </a:lnTo>
                <a:lnTo>
                  <a:pt x="2982" y="541"/>
                </a:lnTo>
                <a:lnTo>
                  <a:pt x="2986" y="508"/>
                </a:lnTo>
                <a:lnTo>
                  <a:pt x="2993" y="475"/>
                </a:lnTo>
                <a:lnTo>
                  <a:pt x="3003" y="445"/>
                </a:lnTo>
                <a:lnTo>
                  <a:pt x="3014" y="414"/>
                </a:lnTo>
                <a:lnTo>
                  <a:pt x="3028" y="387"/>
                </a:lnTo>
                <a:lnTo>
                  <a:pt x="3044" y="361"/>
                </a:lnTo>
                <a:lnTo>
                  <a:pt x="3062" y="336"/>
                </a:lnTo>
                <a:lnTo>
                  <a:pt x="3083" y="314"/>
                </a:lnTo>
                <a:lnTo>
                  <a:pt x="3103" y="293"/>
                </a:lnTo>
                <a:lnTo>
                  <a:pt x="3127" y="275"/>
                </a:lnTo>
                <a:lnTo>
                  <a:pt x="3151" y="262"/>
                </a:lnTo>
                <a:lnTo>
                  <a:pt x="3165" y="255"/>
                </a:lnTo>
                <a:lnTo>
                  <a:pt x="3178" y="249"/>
                </a:lnTo>
                <a:lnTo>
                  <a:pt x="3191" y="245"/>
                </a:lnTo>
                <a:lnTo>
                  <a:pt x="3205" y="241"/>
                </a:lnTo>
                <a:lnTo>
                  <a:pt x="3220" y="237"/>
                </a:lnTo>
                <a:lnTo>
                  <a:pt x="3234" y="235"/>
                </a:lnTo>
                <a:lnTo>
                  <a:pt x="3249" y="234"/>
                </a:lnTo>
                <a:lnTo>
                  <a:pt x="3264" y="233"/>
                </a:lnTo>
                <a:lnTo>
                  <a:pt x="3279" y="234"/>
                </a:lnTo>
                <a:lnTo>
                  <a:pt x="3295" y="235"/>
                </a:lnTo>
                <a:lnTo>
                  <a:pt x="3308" y="237"/>
                </a:lnTo>
                <a:lnTo>
                  <a:pt x="3324" y="241"/>
                </a:lnTo>
                <a:lnTo>
                  <a:pt x="3337" y="245"/>
                </a:lnTo>
                <a:lnTo>
                  <a:pt x="3351" y="249"/>
                </a:lnTo>
                <a:lnTo>
                  <a:pt x="3365" y="255"/>
                </a:lnTo>
                <a:lnTo>
                  <a:pt x="3377" y="262"/>
                </a:lnTo>
                <a:lnTo>
                  <a:pt x="3402" y="275"/>
                </a:lnTo>
                <a:lnTo>
                  <a:pt x="3425" y="293"/>
                </a:lnTo>
                <a:lnTo>
                  <a:pt x="3447" y="314"/>
                </a:lnTo>
                <a:lnTo>
                  <a:pt x="3467" y="336"/>
                </a:lnTo>
                <a:lnTo>
                  <a:pt x="3485" y="361"/>
                </a:lnTo>
                <a:lnTo>
                  <a:pt x="3501" y="387"/>
                </a:lnTo>
                <a:lnTo>
                  <a:pt x="3515" y="414"/>
                </a:lnTo>
                <a:lnTo>
                  <a:pt x="3526" y="445"/>
                </a:lnTo>
                <a:lnTo>
                  <a:pt x="3536" y="475"/>
                </a:lnTo>
                <a:lnTo>
                  <a:pt x="3542" y="508"/>
                </a:lnTo>
                <a:lnTo>
                  <a:pt x="3547" y="541"/>
                </a:lnTo>
                <a:lnTo>
                  <a:pt x="3548" y="574"/>
                </a:lnTo>
                <a:lnTo>
                  <a:pt x="3548" y="642"/>
                </a:lnTo>
                <a:lnTo>
                  <a:pt x="3547" y="665"/>
                </a:lnTo>
                <a:lnTo>
                  <a:pt x="3545" y="687"/>
                </a:lnTo>
                <a:lnTo>
                  <a:pt x="3541" y="706"/>
                </a:lnTo>
                <a:lnTo>
                  <a:pt x="3537" y="726"/>
                </a:lnTo>
                <a:lnTo>
                  <a:pt x="3531" y="745"/>
                </a:lnTo>
                <a:lnTo>
                  <a:pt x="3525" y="761"/>
                </a:lnTo>
                <a:lnTo>
                  <a:pt x="3516" y="777"/>
                </a:lnTo>
                <a:lnTo>
                  <a:pt x="3508" y="792"/>
                </a:lnTo>
                <a:close/>
                <a:moveTo>
                  <a:pt x="3385" y="406"/>
                </a:moveTo>
                <a:lnTo>
                  <a:pt x="3385" y="406"/>
                </a:lnTo>
                <a:lnTo>
                  <a:pt x="3376" y="424"/>
                </a:lnTo>
                <a:lnTo>
                  <a:pt x="3365" y="441"/>
                </a:lnTo>
                <a:lnTo>
                  <a:pt x="3352" y="456"/>
                </a:lnTo>
                <a:lnTo>
                  <a:pt x="3340" y="471"/>
                </a:lnTo>
                <a:lnTo>
                  <a:pt x="3326" y="486"/>
                </a:lnTo>
                <a:lnTo>
                  <a:pt x="3311" y="498"/>
                </a:lnTo>
                <a:lnTo>
                  <a:pt x="3295" y="511"/>
                </a:lnTo>
                <a:lnTo>
                  <a:pt x="3278" y="522"/>
                </a:lnTo>
                <a:lnTo>
                  <a:pt x="3260" y="532"/>
                </a:lnTo>
                <a:lnTo>
                  <a:pt x="3242" y="541"/>
                </a:lnTo>
                <a:lnTo>
                  <a:pt x="3224" y="548"/>
                </a:lnTo>
                <a:lnTo>
                  <a:pt x="3205" y="555"/>
                </a:lnTo>
                <a:lnTo>
                  <a:pt x="3184" y="559"/>
                </a:lnTo>
                <a:lnTo>
                  <a:pt x="3164" y="563"/>
                </a:lnTo>
                <a:lnTo>
                  <a:pt x="3143" y="566"/>
                </a:lnTo>
                <a:lnTo>
                  <a:pt x="3123" y="566"/>
                </a:lnTo>
                <a:lnTo>
                  <a:pt x="3095" y="565"/>
                </a:lnTo>
                <a:lnTo>
                  <a:pt x="3067" y="562"/>
                </a:lnTo>
                <a:lnTo>
                  <a:pt x="3066" y="585"/>
                </a:lnTo>
                <a:lnTo>
                  <a:pt x="3066" y="665"/>
                </a:lnTo>
                <a:lnTo>
                  <a:pt x="3067" y="690"/>
                </a:lnTo>
                <a:lnTo>
                  <a:pt x="3070" y="712"/>
                </a:lnTo>
                <a:lnTo>
                  <a:pt x="3076" y="734"/>
                </a:lnTo>
                <a:lnTo>
                  <a:pt x="3083" y="755"/>
                </a:lnTo>
                <a:lnTo>
                  <a:pt x="3091" y="775"/>
                </a:lnTo>
                <a:lnTo>
                  <a:pt x="3100" y="793"/>
                </a:lnTo>
                <a:lnTo>
                  <a:pt x="3113" y="811"/>
                </a:lnTo>
                <a:lnTo>
                  <a:pt x="3125" y="828"/>
                </a:lnTo>
                <a:lnTo>
                  <a:pt x="3139" y="841"/>
                </a:lnTo>
                <a:lnTo>
                  <a:pt x="3156" y="855"/>
                </a:lnTo>
                <a:lnTo>
                  <a:pt x="3171" y="866"/>
                </a:lnTo>
                <a:lnTo>
                  <a:pt x="3189" y="874"/>
                </a:lnTo>
                <a:lnTo>
                  <a:pt x="3206" y="883"/>
                </a:lnTo>
                <a:lnTo>
                  <a:pt x="3226" y="888"/>
                </a:lnTo>
                <a:lnTo>
                  <a:pt x="3245" y="891"/>
                </a:lnTo>
                <a:lnTo>
                  <a:pt x="3264" y="892"/>
                </a:lnTo>
                <a:lnTo>
                  <a:pt x="3284" y="891"/>
                </a:lnTo>
                <a:lnTo>
                  <a:pt x="3303" y="888"/>
                </a:lnTo>
                <a:lnTo>
                  <a:pt x="3322" y="883"/>
                </a:lnTo>
                <a:lnTo>
                  <a:pt x="3340" y="874"/>
                </a:lnTo>
                <a:lnTo>
                  <a:pt x="3358" y="866"/>
                </a:lnTo>
                <a:lnTo>
                  <a:pt x="3374" y="855"/>
                </a:lnTo>
                <a:lnTo>
                  <a:pt x="3390" y="841"/>
                </a:lnTo>
                <a:lnTo>
                  <a:pt x="3403" y="828"/>
                </a:lnTo>
                <a:lnTo>
                  <a:pt x="3416" y="811"/>
                </a:lnTo>
                <a:lnTo>
                  <a:pt x="3428" y="793"/>
                </a:lnTo>
                <a:lnTo>
                  <a:pt x="3438" y="775"/>
                </a:lnTo>
                <a:lnTo>
                  <a:pt x="3446" y="755"/>
                </a:lnTo>
                <a:lnTo>
                  <a:pt x="3453" y="734"/>
                </a:lnTo>
                <a:lnTo>
                  <a:pt x="3458" y="712"/>
                </a:lnTo>
                <a:lnTo>
                  <a:pt x="3461" y="690"/>
                </a:lnTo>
                <a:lnTo>
                  <a:pt x="3463" y="665"/>
                </a:lnTo>
                <a:lnTo>
                  <a:pt x="3463" y="585"/>
                </a:lnTo>
                <a:lnTo>
                  <a:pt x="3461" y="558"/>
                </a:lnTo>
                <a:lnTo>
                  <a:pt x="3457" y="532"/>
                </a:lnTo>
                <a:lnTo>
                  <a:pt x="3450" y="507"/>
                </a:lnTo>
                <a:lnTo>
                  <a:pt x="3442" y="483"/>
                </a:lnTo>
                <a:lnTo>
                  <a:pt x="3431" y="461"/>
                </a:lnTo>
                <a:lnTo>
                  <a:pt x="3417" y="441"/>
                </a:lnTo>
                <a:lnTo>
                  <a:pt x="3402" y="423"/>
                </a:lnTo>
                <a:lnTo>
                  <a:pt x="3385" y="406"/>
                </a:lnTo>
                <a:close/>
                <a:moveTo>
                  <a:pt x="186" y="2587"/>
                </a:moveTo>
                <a:lnTo>
                  <a:pt x="186" y="2587"/>
                </a:lnTo>
                <a:lnTo>
                  <a:pt x="186" y="2579"/>
                </a:lnTo>
                <a:lnTo>
                  <a:pt x="189" y="2572"/>
                </a:lnTo>
                <a:lnTo>
                  <a:pt x="193" y="2565"/>
                </a:lnTo>
                <a:lnTo>
                  <a:pt x="197" y="2560"/>
                </a:lnTo>
                <a:lnTo>
                  <a:pt x="202" y="2556"/>
                </a:lnTo>
                <a:lnTo>
                  <a:pt x="209" y="2552"/>
                </a:lnTo>
                <a:lnTo>
                  <a:pt x="216" y="2550"/>
                </a:lnTo>
                <a:lnTo>
                  <a:pt x="223" y="2549"/>
                </a:lnTo>
                <a:lnTo>
                  <a:pt x="231" y="2550"/>
                </a:lnTo>
                <a:lnTo>
                  <a:pt x="238" y="2552"/>
                </a:lnTo>
                <a:lnTo>
                  <a:pt x="244" y="2556"/>
                </a:lnTo>
                <a:lnTo>
                  <a:pt x="249" y="2560"/>
                </a:lnTo>
                <a:lnTo>
                  <a:pt x="255" y="2565"/>
                </a:lnTo>
                <a:lnTo>
                  <a:pt x="257" y="2572"/>
                </a:lnTo>
                <a:lnTo>
                  <a:pt x="260" y="2579"/>
                </a:lnTo>
                <a:lnTo>
                  <a:pt x="260" y="2587"/>
                </a:lnTo>
                <a:lnTo>
                  <a:pt x="260" y="2594"/>
                </a:lnTo>
                <a:lnTo>
                  <a:pt x="257" y="2601"/>
                </a:lnTo>
                <a:lnTo>
                  <a:pt x="255" y="2608"/>
                </a:lnTo>
                <a:lnTo>
                  <a:pt x="249" y="2614"/>
                </a:lnTo>
                <a:lnTo>
                  <a:pt x="244" y="2618"/>
                </a:lnTo>
                <a:lnTo>
                  <a:pt x="238" y="2622"/>
                </a:lnTo>
                <a:lnTo>
                  <a:pt x="231" y="2623"/>
                </a:lnTo>
                <a:lnTo>
                  <a:pt x="223" y="2625"/>
                </a:lnTo>
                <a:lnTo>
                  <a:pt x="216" y="2623"/>
                </a:lnTo>
                <a:lnTo>
                  <a:pt x="209" y="2622"/>
                </a:lnTo>
                <a:lnTo>
                  <a:pt x="202" y="2618"/>
                </a:lnTo>
                <a:lnTo>
                  <a:pt x="197" y="2614"/>
                </a:lnTo>
                <a:lnTo>
                  <a:pt x="193" y="2608"/>
                </a:lnTo>
                <a:lnTo>
                  <a:pt x="189" y="2601"/>
                </a:lnTo>
                <a:lnTo>
                  <a:pt x="186" y="2594"/>
                </a:lnTo>
                <a:lnTo>
                  <a:pt x="186" y="2587"/>
                </a:lnTo>
                <a:close/>
                <a:moveTo>
                  <a:pt x="720" y="2260"/>
                </a:moveTo>
                <a:lnTo>
                  <a:pt x="792" y="1121"/>
                </a:lnTo>
                <a:lnTo>
                  <a:pt x="783" y="1115"/>
                </a:lnTo>
                <a:lnTo>
                  <a:pt x="776" y="1108"/>
                </a:lnTo>
                <a:lnTo>
                  <a:pt x="770" y="1102"/>
                </a:lnTo>
                <a:lnTo>
                  <a:pt x="764" y="1095"/>
                </a:lnTo>
                <a:lnTo>
                  <a:pt x="760" y="1086"/>
                </a:lnTo>
                <a:lnTo>
                  <a:pt x="756" y="1078"/>
                </a:lnTo>
                <a:lnTo>
                  <a:pt x="753" y="1069"/>
                </a:lnTo>
                <a:lnTo>
                  <a:pt x="752" y="1059"/>
                </a:lnTo>
                <a:lnTo>
                  <a:pt x="837" y="980"/>
                </a:lnTo>
                <a:lnTo>
                  <a:pt x="924" y="1059"/>
                </a:lnTo>
                <a:lnTo>
                  <a:pt x="922" y="1069"/>
                </a:lnTo>
                <a:lnTo>
                  <a:pt x="920" y="1078"/>
                </a:lnTo>
                <a:lnTo>
                  <a:pt x="916" y="1086"/>
                </a:lnTo>
                <a:lnTo>
                  <a:pt x="910" y="1095"/>
                </a:lnTo>
                <a:lnTo>
                  <a:pt x="905" y="1102"/>
                </a:lnTo>
                <a:lnTo>
                  <a:pt x="899" y="1108"/>
                </a:lnTo>
                <a:lnTo>
                  <a:pt x="892" y="1115"/>
                </a:lnTo>
                <a:lnTo>
                  <a:pt x="884" y="1121"/>
                </a:lnTo>
                <a:lnTo>
                  <a:pt x="955" y="2260"/>
                </a:lnTo>
                <a:lnTo>
                  <a:pt x="837" y="2397"/>
                </a:lnTo>
                <a:lnTo>
                  <a:pt x="720" y="226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/>
          <a:lstStyle/>
          <a:p>
            <a:endParaRPr lang="ru-RU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8482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игации</a:t>
            </a:r>
          </a:p>
        </p:txBody>
      </p:sp>
      <p:sp>
        <p:nvSpPr>
          <p:cNvPr id="12" name="Правая фигурная скобка 11"/>
          <p:cNvSpPr/>
          <p:nvPr/>
        </p:nvSpPr>
        <p:spPr>
          <a:xfrm>
            <a:off x="5875246" y="2138102"/>
            <a:ext cx="1086638" cy="3404928"/>
          </a:xfrm>
          <a:prstGeom prst="rightBrace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C6E51"/>
              </a:solidFill>
            </a:endParaRPr>
          </a:p>
        </p:txBody>
      </p:sp>
      <p:sp>
        <p:nvSpPr>
          <p:cNvPr id="13" name="Freeform 46"/>
          <p:cNvSpPr>
            <a:spLocks noChangeAspect="1" noEditPoints="1"/>
          </p:cNvSpPr>
          <p:nvPr/>
        </p:nvSpPr>
        <p:spPr bwMode="auto">
          <a:xfrm>
            <a:off x="1750259" y="2279538"/>
            <a:ext cx="849918" cy="1179477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2723586" y="2270544"/>
            <a:ext cx="3515037" cy="118847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r>
              <a:rPr lang="ru-RU" sz="1600" dirty="0">
                <a:solidFill>
                  <a:srgbClr val="14AA96"/>
                </a:solidFill>
              </a:rPr>
              <a:t>Справочник «Ценные бумаги»:</a:t>
            </a:r>
          </a:p>
          <a:p>
            <a:pPr marL="285807" indent="-28580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4AA96"/>
                </a:solidFill>
              </a:rPr>
              <a:t>Параметры расчета купонов</a:t>
            </a:r>
          </a:p>
          <a:p>
            <a:pPr marL="285807" indent="-28580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4AA96"/>
                </a:solidFill>
              </a:rPr>
              <a:t>График амортизации и выплаты купонов по 1 облигации</a:t>
            </a:r>
            <a:br>
              <a:rPr lang="ru-RU" sz="1600" dirty="0">
                <a:solidFill>
                  <a:srgbClr val="14AA96"/>
                </a:solidFill>
              </a:rPr>
            </a:br>
            <a:endParaRPr lang="ru-RU" sz="1600" dirty="0">
              <a:solidFill>
                <a:srgbClr val="14AA96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12429" y="4235571"/>
            <a:ext cx="3047862" cy="107746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r>
              <a:rPr lang="ru-RU" sz="1600" dirty="0">
                <a:solidFill>
                  <a:srgbClr val="14AA96"/>
                </a:solidFill>
              </a:rPr>
              <a:t>Документы приобретения / выбытия</a:t>
            </a:r>
          </a:p>
          <a:p>
            <a:pPr marL="285807" indent="-28580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14AA96"/>
                </a:solidFill>
              </a:rPr>
              <a:t>Изменение количества облигаций</a:t>
            </a:r>
          </a:p>
        </p:txBody>
      </p:sp>
      <p:sp>
        <p:nvSpPr>
          <p:cNvPr id="16" name="Freeform 38"/>
          <p:cNvSpPr>
            <a:spLocks noChangeAspect="1" noEditPoints="1"/>
          </p:cNvSpPr>
          <p:nvPr/>
        </p:nvSpPr>
        <p:spPr bwMode="auto">
          <a:xfrm>
            <a:off x="1750259" y="4349631"/>
            <a:ext cx="849918" cy="1096854"/>
          </a:xfrm>
          <a:custGeom>
            <a:avLst/>
            <a:gdLst>
              <a:gd name="T0" fmla="*/ 2147483647 w 3704"/>
              <a:gd name="T1" fmla="*/ 2147483647 h 4763"/>
              <a:gd name="T2" fmla="*/ 2147483647 w 3704"/>
              <a:gd name="T3" fmla="*/ 2147483647 h 4763"/>
              <a:gd name="T4" fmla="*/ 2147483647 w 3704"/>
              <a:gd name="T5" fmla="*/ 2147483647 h 4763"/>
              <a:gd name="T6" fmla="*/ 2147483647 w 3704"/>
              <a:gd name="T7" fmla="*/ 2147483647 h 4763"/>
              <a:gd name="T8" fmla="*/ 2147483647 w 3704"/>
              <a:gd name="T9" fmla="*/ 2147483647 h 4763"/>
              <a:gd name="T10" fmla="*/ 2147483647 w 3704"/>
              <a:gd name="T11" fmla="*/ 2147483647 h 4763"/>
              <a:gd name="T12" fmla="*/ 2147483647 w 3704"/>
              <a:gd name="T13" fmla="*/ 2147483647 h 4763"/>
              <a:gd name="T14" fmla="*/ 2147483647 w 3704"/>
              <a:gd name="T15" fmla="*/ 2147483647 h 4763"/>
              <a:gd name="T16" fmla="*/ 2147483647 w 3704"/>
              <a:gd name="T17" fmla="*/ 2147483647 h 4763"/>
              <a:gd name="T18" fmla="*/ 2147483647 w 3704"/>
              <a:gd name="T19" fmla="*/ 2147483647 h 4763"/>
              <a:gd name="T20" fmla="*/ 2147483647 w 3704"/>
              <a:gd name="T21" fmla="*/ 2147483647 h 4763"/>
              <a:gd name="T22" fmla="*/ 2147483647 w 3704"/>
              <a:gd name="T23" fmla="*/ 2147483647 h 4763"/>
              <a:gd name="T24" fmla="*/ 2147483647 w 3704"/>
              <a:gd name="T25" fmla="*/ 2147483647 h 4763"/>
              <a:gd name="T26" fmla="*/ 2147483647 w 3704"/>
              <a:gd name="T27" fmla="*/ 2147483647 h 4763"/>
              <a:gd name="T28" fmla="*/ 2147483647 w 3704"/>
              <a:gd name="T29" fmla="*/ 2147483647 h 4763"/>
              <a:gd name="T30" fmla="*/ 2147483647 w 3704"/>
              <a:gd name="T31" fmla="*/ 2147483647 h 4763"/>
              <a:gd name="T32" fmla="*/ 2147483647 w 3704"/>
              <a:gd name="T33" fmla="*/ 2147483647 h 4763"/>
              <a:gd name="T34" fmla="*/ 2147483647 w 3704"/>
              <a:gd name="T35" fmla="*/ 2147483647 h 4763"/>
              <a:gd name="T36" fmla="*/ 2147483647 w 3704"/>
              <a:gd name="T37" fmla="*/ 2147483647 h 4763"/>
              <a:gd name="T38" fmla="*/ 2147483647 w 3704"/>
              <a:gd name="T39" fmla="*/ 2147483647 h 4763"/>
              <a:gd name="T40" fmla="*/ 2147483647 w 3704"/>
              <a:gd name="T41" fmla="*/ 2147483647 h 4763"/>
              <a:gd name="T42" fmla="*/ 2147483647 w 3704"/>
              <a:gd name="T43" fmla="*/ 2147483647 h 4763"/>
              <a:gd name="T44" fmla="*/ 2147483647 w 3704"/>
              <a:gd name="T45" fmla="*/ 2147483647 h 4763"/>
              <a:gd name="T46" fmla="*/ 2147483647 w 3704"/>
              <a:gd name="T47" fmla="*/ 2147483647 h 4763"/>
              <a:gd name="T48" fmla="*/ 2147483647 w 3704"/>
              <a:gd name="T49" fmla="*/ 2147483647 h 4763"/>
              <a:gd name="T50" fmla="*/ 2147483647 w 3704"/>
              <a:gd name="T51" fmla="*/ 2147483647 h 4763"/>
              <a:gd name="T52" fmla="*/ 0 w 3704"/>
              <a:gd name="T53" fmla="*/ 2147483647 h 4763"/>
              <a:gd name="T54" fmla="*/ 0 w 3704"/>
              <a:gd name="T55" fmla="*/ 2147483647 h 4763"/>
              <a:gd name="T56" fmla="*/ 2147483647 w 3704"/>
              <a:gd name="T57" fmla="*/ 2147483647 h 4763"/>
              <a:gd name="T58" fmla="*/ 2147483647 w 3704"/>
              <a:gd name="T59" fmla="*/ 2147483647 h 4763"/>
              <a:gd name="T60" fmla="*/ 2147483647 w 3704"/>
              <a:gd name="T61" fmla="*/ 2147483647 h 4763"/>
              <a:gd name="T62" fmla="*/ 2147483647 w 3704"/>
              <a:gd name="T63" fmla="*/ 2147483647 h 4763"/>
              <a:gd name="T64" fmla="*/ 2147483647 w 3704"/>
              <a:gd name="T65" fmla="*/ 2147483647 h 4763"/>
              <a:gd name="T66" fmla="*/ 2147483647 w 3704"/>
              <a:gd name="T67" fmla="*/ 2147483647 h 4763"/>
              <a:gd name="T68" fmla="*/ 2147483647 w 3704"/>
              <a:gd name="T69" fmla="*/ 2147483647 h 4763"/>
              <a:gd name="T70" fmla="*/ 2147483647 w 3704"/>
              <a:gd name="T71" fmla="*/ 2147483647 h 4763"/>
              <a:gd name="T72" fmla="*/ 2147483647 w 3704"/>
              <a:gd name="T73" fmla="*/ 2147483647 h 4763"/>
              <a:gd name="T74" fmla="*/ 2147483647 w 3704"/>
              <a:gd name="T75" fmla="*/ 2147483647 h 4763"/>
              <a:gd name="T76" fmla="*/ 2147483647 w 3704"/>
              <a:gd name="T77" fmla="*/ 2147483647 h 4763"/>
              <a:gd name="T78" fmla="*/ 2147483647 w 3704"/>
              <a:gd name="T79" fmla="*/ 2147483647 h 4763"/>
              <a:gd name="T80" fmla="*/ 2147483647 w 3704"/>
              <a:gd name="T81" fmla="*/ 2147483647 h 4763"/>
              <a:gd name="T82" fmla="*/ 2147483647 w 3704"/>
              <a:gd name="T83" fmla="*/ 2147483647 h 4763"/>
              <a:gd name="T84" fmla="*/ 2147483647 w 3704"/>
              <a:gd name="T85" fmla="*/ 2147483647 h 4763"/>
              <a:gd name="T86" fmla="*/ 2147483647 w 3704"/>
              <a:gd name="T87" fmla="*/ 2147483647 h 4763"/>
              <a:gd name="T88" fmla="*/ 2147483647 w 3704"/>
              <a:gd name="T89" fmla="*/ 2147483647 h 4763"/>
              <a:gd name="T90" fmla="*/ 2147483647 w 3704"/>
              <a:gd name="T91" fmla="*/ 2147483647 h 4763"/>
              <a:gd name="T92" fmla="*/ 2147483647 w 3704"/>
              <a:gd name="T93" fmla="*/ 2147483647 h 4763"/>
              <a:gd name="T94" fmla="*/ 2147483647 w 3704"/>
              <a:gd name="T95" fmla="*/ 2147483647 h 4763"/>
              <a:gd name="T96" fmla="*/ 2147483647 w 3704"/>
              <a:gd name="T97" fmla="*/ 2147483647 h 4763"/>
              <a:gd name="T98" fmla="*/ 2147483647 w 3704"/>
              <a:gd name="T99" fmla="*/ 2147483647 h 4763"/>
              <a:gd name="T100" fmla="*/ 2147483647 w 3704"/>
              <a:gd name="T101" fmla="*/ 0 h 4763"/>
              <a:gd name="T102" fmla="*/ 2147483647 w 3704"/>
              <a:gd name="T103" fmla="*/ 0 h 4763"/>
              <a:gd name="T104" fmla="*/ 2147483647 w 3704"/>
              <a:gd name="T105" fmla="*/ 2147483647 h 4763"/>
              <a:gd name="T106" fmla="*/ 2147483647 w 3704"/>
              <a:gd name="T107" fmla="*/ 2147483647 h 4763"/>
              <a:gd name="T108" fmla="*/ 2147483647 w 3704"/>
              <a:gd name="T109" fmla="*/ 2147483647 h 4763"/>
              <a:gd name="T110" fmla="*/ 2147483647 w 3704"/>
              <a:gd name="T111" fmla="*/ 2147483647 h 4763"/>
              <a:gd name="T112" fmla="*/ 2147483647 w 3704"/>
              <a:gd name="T113" fmla="*/ 2147483647 h 4763"/>
              <a:gd name="T114" fmla="*/ 2147483647 w 3704"/>
              <a:gd name="T115" fmla="*/ 2147483647 h 4763"/>
              <a:gd name="T116" fmla="*/ 2147483647 w 3704"/>
              <a:gd name="T117" fmla="*/ 2147483647 h 4763"/>
              <a:gd name="T118" fmla="*/ 2147483647 w 3704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4"/>
              <a:gd name="T181" fmla="*/ 0 h 4763"/>
              <a:gd name="T182" fmla="*/ 3704 w 3704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4" h="4763">
                <a:moveTo>
                  <a:pt x="577" y="554"/>
                </a:moveTo>
                <a:lnTo>
                  <a:pt x="577" y="337"/>
                </a:lnTo>
                <a:lnTo>
                  <a:pt x="3327" y="337"/>
                </a:lnTo>
                <a:lnTo>
                  <a:pt x="3327" y="4213"/>
                </a:lnTo>
                <a:lnTo>
                  <a:pt x="3074" y="4213"/>
                </a:lnTo>
                <a:lnTo>
                  <a:pt x="3074" y="4115"/>
                </a:lnTo>
                <a:lnTo>
                  <a:pt x="3229" y="4115"/>
                </a:lnTo>
                <a:lnTo>
                  <a:pt x="3229" y="435"/>
                </a:lnTo>
                <a:lnTo>
                  <a:pt x="675" y="435"/>
                </a:lnTo>
                <a:lnTo>
                  <a:pt x="675" y="554"/>
                </a:lnTo>
                <a:lnTo>
                  <a:pt x="577" y="554"/>
                </a:lnTo>
                <a:close/>
                <a:moveTo>
                  <a:pt x="528" y="3793"/>
                </a:moveTo>
                <a:lnTo>
                  <a:pt x="2020" y="3793"/>
                </a:lnTo>
                <a:lnTo>
                  <a:pt x="2020" y="3890"/>
                </a:lnTo>
                <a:lnTo>
                  <a:pt x="528" y="3890"/>
                </a:lnTo>
                <a:lnTo>
                  <a:pt x="528" y="3793"/>
                </a:lnTo>
                <a:close/>
                <a:moveTo>
                  <a:pt x="2685" y="1426"/>
                </a:moveTo>
                <a:lnTo>
                  <a:pt x="2198" y="945"/>
                </a:lnTo>
                <a:lnTo>
                  <a:pt x="2198" y="1426"/>
                </a:lnTo>
                <a:lnTo>
                  <a:pt x="2685" y="1426"/>
                </a:lnTo>
                <a:close/>
                <a:moveTo>
                  <a:pt x="195" y="849"/>
                </a:moveTo>
                <a:lnTo>
                  <a:pt x="195" y="4568"/>
                </a:lnTo>
                <a:lnTo>
                  <a:pt x="2768" y="4568"/>
                </a:lnTo>
                <a:lnTo>
                  <a:pt x="2769" y="1718"/>
                </a:lnTo>
                <a:lnTo>
                  <a:pt x="2964" y="1718"/>
                </a:lnTo>
                <a:lnTo>
                  <a:pt x="2962" y="4763"/>
                </a:lnTo>
                <a:lnTo>
                  <a:pt x="0" y="4763"/>
                </a:lnTo>
                <a:lnTo>
                  <a:pt x="0" y="654"/>
                </a:lnTo>
                <a:lnTo>
                  <a:pt x="2190" y="654"/>
                </a:lnTo>
                <a:lnTo>
                  <a:pt x="2965" y="1428"/>
                </a:lnTo>
                <a:lnTo>
                  <a:pt x="2964" y="1621"/>
                </a:lnTo>
                <a:lnTo>
                  <a:pt x="2003" y="1621"/>
                </a:lnTo>
                <a:lnTo>
                  <a:pt x="2003" y="849"/>
                </a:lnTo>
                <a:lnTo>
                  <a:pt x="195" y="849"/>
                </a:lnTo>
                <a:close/>
                <a:moveTo>
                  <a:pt x="528" y="2209"/>
                </a:moveTo>
                <a:lnTo>
                  <a:pt x="2434" y="2209"/>
                </a:lnTo>
                <a:lnTo>
                  <a:pt x="2434" y="2306"/>
                </a:lnTo>
                <a:lnTo>
                  <a:pt x="528" y="2306"/>
                </a:lnTo>
                <a:lnTo>
                  <a:pt x="528" y="2209"/>
                </a:lnTo>
                <a:close/>
                <a:moveTo>
                  <a:pt x="528" y="2737"/>
                </a:moveTo>
                <a:lnTo>
                  <a:pt x="2434" y="2737"/>
                </a:lnTo>
                <a:lnTo>
                  <a:pt x="2434" y="2834"/>
                </a:lnTo>
                <a:lnTo>
                  <a:pt x="528" y="2834"/>
                </a:lnTo>
                <a:lnTo>
                  <a:pt x="528" y="2737"/>
                </a:lnTo>
                <a:close/>
                <a:moveTo>
                  <a:pt x="528" y="3265"/>
                </a:moveTo>
                <a:lnTo>
                  <a:pt x="2434" y="3265"/>
                </a:lnTo>
                <a:lnTo>
                  <a:pt x="2434" y="3363"/>
                </a:lnTo>
                <a:lnTo>
                  <a:pt x="528" y="3363"/>
                </a:lnTo>
                <a:lnTo>
                  <a:pt x="528" y="3265"/>
                </a:lnTo>
                <a:close/>
                <a:moveTo>
                  <a:pt x="964" y="218"/>
                </a:moveTo>
                <a:lnTo>
                  <a:pt x="964" y="0"/>
                </a:lnTo>
                <a:lnTo>
                  <a:pt x="3704" y="0"/>
                </a:lnTo>
                <a:lnTo>
                  <a:pt x="3704" y="3896"/>
                </a:lnTo>
                <a:lnTo>
                  <a:pt x="3452" y="3896"/>
                </a:lnTo>
                <a:lnTo>
                  <a:pt x="3452" y="3799"/>
                </a:lnTo>
                <a:lnTo>
                  <a:pt x="3607" y="3799"/>
                </a:lnTo>
                <a:lnTo>
                  <a:pt x="3607" y="97"/>
                </a:lnTo>
                <a:lnTo>
                  <a:pt x="1062" y="97"/>
                </a:lnTo>
                <a:lnTo>
                  <a:pt x="1062" y="218"/>
                </a:lnTo>
                <a:lnTo>
                  <a:pt x="964" y="218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7" name="Freeform 30"/>
          <p:cNvSpPr>
            <a:spLocks noChangeAspect="1" noEditPoints="1"/>
          </p:cNvSpPr>
          <p:nvPr/>
        </p:nvSpPr>
        <p:spPr bwMode="auto">
          <a:xfrm>
            <a:off x="7552253" y="3087082"/>
            <a:ext cx="1478131" cy="1112487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rgbClr val="14AA9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8" name="Прямоугольник 17"/>
          <p:cNvSpPr/>
          <p:nvPr/>
        </p:nvSpPr>
        <p:spPr>
          <a:xfrm>
            <a:off x="6832005" y="4285379"/>
            <a:ext cx="3515037" cy="584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dirty="0">
                <a:solidFill>
                  <a:srgbClr val="14AA96"/>
                </a:solidFill>
                <a:cs typeface="Tahoma" panose="020B0604030504040204" pitchFamily="34" charset="0"/>
              </a:rPr>
              <a:t>График </a:t>
            </a:r>
            <a:r>
              <a:rPr lang="ru-RU" sz="1600" dirty="0">
                <a:solidFill>
                  <a:srgbClr val="14AA96"/>
                </a:solidFill>
              </a:rPr>
              <a:t>начислений</a:t>
            </a:r>
            <a:r>
              <a:rPr lang="ru-RU" sz="1600" dirty="0">
                <a:solidFill>
                  <a:srgbClr val="14AA96"/>
                </a:solidFill>
                <a:cs typeface="Tahoma" panose="020B0604030504040204" pitchFamily="34" charset="0"/>
              </a:rPr>
              <a:t> и платежей</a:t>
            </a:r>
            <a:br>
              <a:rPr lang="ru-RU" sz="1600" dirty="0">
                <a:solidFill>
                  <a:srgbClr val="14AA96"/>
                </a:solidFill>
                <a:cs typeface="Tahoma" panose="020B0604030504040204" pitchFamily="34" charset="0"/>
              </a:rPr>
            </a:br>
            <a:endParaRPr lang="ru-RU" sz="1600" dirty="0">
              <a:solidFill>
                <a:srgbClr val="14AA96"/>
              </a:solidFill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337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з чего состоит 1С:</a:t>
            </a:r>
            <a:r>
              <a:rPr lang="en-US" dirty="0"/>
              <a:t>ERP</a:t>
            </a:r>
            <a:r>
              <a:rPr lang="ru-RU" dirty="0"/>
              <a:t>. Управление холдинго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80963" y="1485578"/>
            <a:ext cx="9361040" cy="492505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ru-RU" sz="4000" b="1" dirty="0">
                <a:solidFill>
                  <a:schemeClr val="bg1"/>
                </a:solidFill>
              </a:rPr>
              <a:t>1С:</a:t>
            </a:r>
            <a:r>
              <a:rPr lang="en-US" sz="4000" b="1" dirty="0">
                <a:solidFill>
                  <a:schemeClr val="bg1"/>
                </a:solidFill>
              </a:rPr>
              <a:t>ERP</a:t>
            </a:r>
            <a:endParaRPr lang="ru-RU" sz="4000" b="1" dirty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80963" y="2345602"/>
            <a:ext cx="7056784" cy="406934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ru-RU" sz="4000" b="1" dirty="0">
                <a:solidFill>
                  <a:schemeClr val="bg1"/>
                </a:solidFill>
              </a:rPr>
              <a:t>Уникальная бизнес-логик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80963" y="3127993"/>
            <a:ext cx="6192688" cy="32826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ru-RU" sz="4000" b="1" dirty="0">
                <a:solidFill>
                  <a:schemeClr val="bg1"/>
                </a:solidFill>
              </a:rPr>
              <a:t>1С:УХ – 1С:БП</a:t>
            </a:r>
          </a:p>
        </p:txBody>
      </p:sp>
    </p:spTree>
    <p:extLst>
      <p:ext uri="{BB962C8B-B14F-4D97-AF65-F5344CB8AC3E}">
        <p14:creationId xmlns:p14="http://schemas.microsoft.com/office/powerpoint/2010/main" val="34845933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</a:t>
            </a:r>
            <a:br>
              <a:rPr lang="ru-RU" dirty="0"/>
            </a:br>
            <a:r>
              <a:rPr lang="ru-RU" dirty="0"/>
              <a:t>обязательствами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5035567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66916"/>
              </p:ext>
            </p:extLst>
          </p:nvPr>
        </p:nvGraphicFramePr>
        <p:xfrm>
          <a:off x="408955" y="1341562"/>
          <a:ext cx="10873208" cy="5100495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739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дуры выбора поставщи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инг</a:t>
                      </a:r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ставщиков и покупателей, влияющий на кредитную политик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из соблюдения кредитной политик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взаиморасче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претензий клиен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входящих и исходящих претензий любого вид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леживание хода </a:t>
                      </a:r>
                      <a:r>
                        <a:rPr lang="ru-RU" sz="14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тензионно</a:t>
                      </a:r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исковой работы по настраиваемым этап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ияние претензий на план ДД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ы факторинга и реестры уступленных денежных требовани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 для управления отклонениями от графи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залогов и поручительств по кредитам и займ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аккредитивов, банковских гарантий, обеспечения по прочим видам договор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сылка оповещений о нарушениях исполнения обязательст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граничение дебиторской задолженности по договор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четность по анализу дебиторской задолжен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202043" y="17433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20592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197627" y="23752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1" name="Freeform 67"/>
          <p:cNvSpPr>
            <a:spLocks noChangeAspect="1"/>
          </p:cNvSpPr>
          <p:nvPr/>
        </p:nvSpPr>
        <p:spPr bwMode="auto">
          <a:xfrm>
            <a:off x="8329835" y="2690470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26911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30070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4" name="Freeform 67"/>
          <p:cNvSpPr>
            <a:spLocks noChangeAspect="1"/>
          </p:cNvSpPr>
          <p:nvPr/>
        </p:nvSpPr>
        <p:spPr bwMode="auto">
          <a:xfrm>
            <a:off x="8329835" y="3006738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332300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197627" y="363893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395486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4" name="Freeform 67"/>
          <p:cNvSpPr>
            <a:spLocks noChangeAspect="1"/>
          </p:cNvSpPr>
          <p:nvPr/>
        </p:nvSpPr>
        <p:spPr bwMode="auto">
          <a:xfrm>
            <a:off x="10197627" y="458672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5" name="Freeform 67"/>
          <p:cNvSpPr>
            <a:spLocks noChangeAspect="1"/>
          </p:cNvSpPr>
          <p:nvPr/>
        </p:nvSpPr>
        <p:spPr bwMode="auto">
          <a:xfrm>
            <a:off x="10197627" y="49026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7" name="Freeform 67"/>
          <p:cNvSpPr>
            <a:spLocks noChangeAspect="1"/>
          </p:cNvSpPr>
          <p:nvPr/>
        </p:nvSpPr>
        <p:spPr bwMode="auto">
          <a:xfrm>
            <a:off x="10197627" y="52185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8" name="Freeform 67"/>
          <p:cNvSpPr>
            <a:spLocks noChangeAspect="1"/>
          </p:cNvSpPr>
          <p:nvPr/>
        </p:nvSpPr>
        <p:spPr bwMode="auto">
          <a:xfrm>
            <a:off x="10197627" y="55345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9" name="Freeform 67"/>
          <p:cNvSpPr>
            <a:spLocks noChangeAspect="1"/>
          </p:cNvSpPr>
          <p:nvPr/>
        </p:nvSpPr>
        <p:spPr bwMode="auto">
          <a:xfrm>
            <a:off x="8329835" y="58504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0" name="Freeform 67"/>
          <p:cNvSpPr>
            <a:spLocks noChangeAspect="1"/>
          </p:cNvSpPr>
          <p:nvPr/>
        </p:nvSpPr>
        <p:spPr bwMode="auto">
          <a:xfrm>
            <a:off x="10197627" y="58504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1" name="Freeform 67"/>
          <p:cNvSpPr>
            <a:spLocks noChangeAspect="1"/>
          </p:cNvSpPr>
          <p:nvPr/>
        </p:nvSpPr>
        <p:spPr bwMode="auto">
          <a:xfrm>
            <a:off x="10197627" y="61663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3" name="Freeform 67"/>
          <p:cNvSpPr>
            <a:spLocks noChangeAspect="1"/>
          </p:cNvSpPr>
          <p:nvPr/>
        </p:nvSpPr>
        <p:spPr bwMode="auto">
          <a:xfrm>
            <a:off x="10197627" y="427079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4" name="Freeform 67"/>
          <p:cNvSpPr>
            <a:spLocks noChangeAspect="1"/>
          </p:cNvSpPr>
          <p:nvPr/>
        </p:nvSpPr>
        <p:spPr bwMode="auto">
          <a:xfrm>
            <a:off x="8329835" y="20592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6" name="Freeform 67"/>
          <p:cNvSpPr>
            <a:spLocks noChangeAspect="1"/>
          </p:cNvSpPr>
          <p:nvPr/>
        </p:nvSpPr>
        <p:spPr bwMode="auto">
          <a:xfrm>
            <a:off x="8329835" y="4909860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7" name="Freeform 67"/>
          <p:cNvSpPr>
            <a:spLocks noChangeAspect="1"/>
          </p:cNvSpPr>
          <p:nvPr/>
        </p:nvSpPr>
        <p:spPr bwMode="auto">
          <a:xfrm>
            <a:off x="8329835" y="61663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9029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67801">
              <a:defRPr/>
            </a:pPr>
            <a:r>
              <a:rPr lang="en-US" sz="1999" dirty="0">
                <a:solidFill>
                  <a:srgbClr val="808080"/>
                </a:solidFill>
              </a:rPr>
              <a:t/>
            </a:r>
            <a:br>
              <a:rPr lang="en-US" sz="1999" dirty="0">
                <a:solidFill>
                  <a:srgbClr val="808080"/>
                </a:solidFill>
              </a:rPr>
            </a:br>
            <a:r>
              <a:rPr lang="ru-RU" sz="1999" dirty="0">
                <a:solidFill>
                  <a:srgbClr val="808080"/>
                </a:solidFill>
              </a:rPr>
              <a:t>Процесс управления обязательствами</a:t>
            </a:r>
            <a:br>
              <a:rPr lang="ru-RU" sz="1999" dirty="0">
                <a:solidFill>
                  <a:srgbClr val="808080"/>
                </a:solidFill>
              </a:rPr>
            </a:br>
            <a:endParaRPr lang="ru-RU" sz="1999" dirty="0">
              <a:solidFill>
                <a:srgbClr val="808080"/>
              </a:solidFill>
            </a:endParaRPr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id="{CE04A78C-B5FD-4E84-8733-6D758CDC7663}"/>
              </a:ext>
            </a:extLst>
          </p:cNvPr>
          <p:cNvSpPr/>
          <p:nvPr/>
        </p:nvSpPr>
        <p:spPr>
          <a:xfrm>
            <a:off x="5591938" y="2903891"/>
            <a:ext cx="2879558" cy="3117199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rgbClr val="FFCC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lvl="2" defTabSz="9678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82" kern="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5" name="Chevron 65">
            <a:extLst>
              <a:ext uri="{FF2B5EF4-FFF2-40B4-BE49-F238E27FC236}">
                <a16:creationId xmlns:a16="http://schemas.microsoft.com/office/drawing/2014/main" id="{7C5B3972-48AD-41DA-8C03-8A22819A733E}"/>
              </a:ext>
            </a:extLst>
          </p:cNvPr>
          <p:cNvSpPr/>
          <p:nvPr/>
        </p:nvSpPr>
        <p:spPr>
          <a:xfrm>
            <a:off x="5459278" y="1622771"/>
            <a:ext cx="3382035" cy="1143219"/>
          </a:xfrm>
          <a:prstGeom prst="chevron">
            <a:avLst>
              <a:gd name="adj" fmla="val 31973"/>
            </a:avLst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76226" tIns="76226" rIns="76226" bIns="76226" anchor="ctr"/>
          <a:lstStyle/>
          <a:p>
            <a:pPr algn="ctr" defTabSz="967801" eaLnBrk="1" fontAlgn="auto" hangingPunct="1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defRPr/>
            </a:pPr>
            <a:r>
              <a:rPr lang="ru-RU" sz="1693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редупреждение отклонений</a:t>
            </a:r>
          </a:p>
        </p:txBody>
      </p:sp>
      <p:sp>
        <p:nvSpPr>
          <p:cNvPr id="46" name="Rectangle 12">
            <a:extLst>
              <a:ext uri="{FF2B5EF4-FFF2-40B4-BE49-F238E27FC236}">
                <a16:creationId xmlns:a16="http://schemas.microsoft.com/office/drawing/2014/main" id="{589D917F-1AA1-456C-BA75-CB85B960DA11}"/>
              </a:ext>
            </a:extLst>
          </p:cNvPr>
          <p:cNvSpPr/>
          <p:nvPr/>
        </p:nvSpPr>
        <p:spPr>
          <a:xfrm>
            <a:off x="2939780" y="2903891"/>
            <a:ext cx="2548092" cy="3117199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rgbClr val="92D05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lvl="2" defTabSz="9678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82" kern="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7" name="Chevron 65">
            <a:extLst>
              <a:ext uri="{FF2B5EF4-FFF2-40B4-BE49-F238E27FC236}">
                <a16:creationId xmlns:a16="http://schemas.microsoft.com/office/drawing/2014/main" id="{EB332572-306D-45AD-8E76-6F4098F48B4F}"/>
              </a:ext>
            </a:extLst>
          </p:cNvPr>
          <p:cNvSpPr/>
          <p:nvPr/>
        </p:nvSpPr>
        <p:spPr>
          <a:xfrm>
            <a:off x="2949192" y="1622771"/>
            <a:ext cx="2780959" cy="1143219"/>
          </a:xfrm>
          <a:prstGeom prst="chevron">
            <a:avLst>
              <a:gd name="adj" fmla="val 31973"/>
            </a:avLst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lIns="76226" tIns="76226" rIns="76226" bIns="76226" anchor="ctr"/>
          <a:lstStyle/>
          <a:p>
            <a:pPr algn="ctr" defTabSz="967801" eaLnBrk="1" fontAlgn="auto" hangingPunct="1">
              <a:spcBef>
                <a:spcPts val="0"/>
              </a:spcBef>
              <a:spcAft>
                <a:spcPts val="635"/>
              </a:spcAft>
              <a:buClr>
                <a:srgbClr val="C00000"/>
              </a:buClr>
              <a:defRPr/>
            </a:pPr>
            <a:r>
              <a:rPr lang="ru-RU" sz="1693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Контрактация</a:t>
            </a:r>
          </a:p>
        </p:txBody>
      </p:sp>
      <p:sp>
        <p:nvSpPr>
          <p:cNvPr id="48" name="Rectangle 122">
            <a:extLst>
              <a:ext uri="{FF2B5EF4-FFF2-40B4-BE49-F238E27FC236}">
                <a16:creationId xmlns:a16="http://schemas.microsoft.com/office/drawing/2014/main" id="{5E30A878-6B68-4667-B39F-B90FCFA564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496" y="2926404"/>
            <a:ext cx="2468375" cy="275780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Тендерные процедуры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СПАРК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Графики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роверка на соответствие коммерческой политике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Обеспечение и страхование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Контроль</a:t>
            </a:r>
          </a:p>
        </p:txBody>
      </p:sp>
      <p:sp>
        <p:nvSpPr>
          <p:cNvPr id="49" name="Chevron 67">
            <a:extLst>
              <a:ext uri="{FF2B5EF4-FFF2-40B4-BE49-F238E27FC236}">
                <a16:creationId xmlns:a16="http://schemas.microsoft.com/office/drawing/2014/main" id="{3AEB47BC-7DDE-4D86-8ED5-8B096F53F870}"/>
              </a:ext>
            </a:extLst>
          </p:cNvPr>
          <p:cNvSpPr/>
          <p:nvPr/>
        </p:nvSpPr>
        <p:spPr>
          <a:xfrm>
            <a:off x="8560823" y="1622771"/>
            <a:ext cx="3159362" cy="1143219"/>
          </a:xfrm>
          <a:prstGeom prst="chevron">
            <a:avLst>
              <a:gd name="adj" fmla="val 31973"/>
            </a:avLst>
          </a:prstGeom>
          <a:solidFill>
            <a:srgbClr val="FC846B"/>
          </a:solidFill>
          <a:ln w="25400" cap="flat" cmpd="sng" algn="ctr">
            <a:noFill/>
            <a:prstDash val="solid"/>
          </a:ln>
          <a:effectLst/>
        </p:spPr>
        <p:txBody>
          <a:bodyPr lIns="76226" tIns="76226" rIns="76226" bIns="76226" anchor="ctr"/>
          <a:lstStyle/>
          <a:p>
            <a:pPr algn="ctr" defTabSz="9678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93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Реакция на отклонения</a:t>
            </a:r>
            <a:endParaRPr lang="ru-RU" sz="1693" kern="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72031BB7-BEC0-48E7-9408-AAAA09BB0557}"/>
              </a:ext>
            </a:extLst>
          </p:cNvPr>
          <p:cNvGrpSpPr/>
          <p:nvPr/>
        </p:nvGrpSpPr>
        <p:grpSpPr>
          <a:xfrm>
            <a:off x="8612668" y="2903891"/>
            <a:ext cx="2886044" cy="3117199"/>
            <a:chOff x="8017765" y="2695988"/>
            <a:chExt cx="2726752" cy="2945148"/>
          </a:xfrm>
        </p:grpSpPr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6EEB103B-3D8B-4C1E-9FC0-275EEC7C9B3C}"/>
                </a:ext>
              </a:extLst>
            </p:cNvPr>
            <p:cNvSpPr/>
            <p:nvPr/>
          </p:nvSpPr>
          <p:spPr>
            <a:xfrm>
              <a:off x="8017765" y="2695988"/>
              <a:ext cx="2710039" cy="2945148"/>
            </a:xfrm>
            <a:prstGeom prst="rect">
              <a:avLst/>
            </a:prstGeom>
            <a:solidFill>
              <a:srgbClr val="FFFFFF">
                <a:lumMod val="95000"/>
                <a:alpha val="70000"/>
              </a:srgbClr>
            </a:solidFill>
            <a:ln w="19050" cap="flat" cmpd="sng" algn="ctr">
              <a:solidFill>
                <a:srgbClr val="FC846B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marL="0" lvl="2" defTabSz="96780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82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2" name="Rectangle 122">
              <a:extLst>
                <a:ext uri="{FF2B5EF4-FFF2-40B4-BE49-F238E27FC236}">
                  <a16:creationId xmlns:a16="http://schemas.microsoft.com/office/drawing/2014/main" id="{C43394E7-C460-4D33-A53A-96952AA84904}"/>
                </a:ext>
              </a:extLst>
            </p:cNvPr>
            <p:cNvSpPr/>
            <p:nvPr/>
          </p:nvSpPr>
          <p:spPr>
            <a:xfrm>
              <a:off x="8023891" y="2717258"/>
              <a:ext cx="2720626" cy="219388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>
              <a:spAutoFit/>
            </a:bodyPr>
            <a:lstStyle/>
            <a:p>
              <a:pPr marL="376367" lvl="2" indent="-376367" defTabSz="967801" eaLnBrk="1" fontAlgn="auto" hangingPunct="1">
                <a:spcBef>
                  <a:spcPts val="0"/>
                </a:spcBef>
                <a:spcAft>
                  <a:spcPts val="635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ru-RU" sz="1482" kern="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Письма-напоминания и стоп-листы</a:t>
              </a:r>
            </a:p>
            <a:p>
              <a:pPr marL="376367" lvl="2" indent="-376367" defTabSz="967801" eaLnBrk="1" fontAlgn="auto" hangingPunct="1">
                <a:spcBef>
                  <a:spcPts val="0"/>
                </a:spcBef>
                <a:spcAft>
                  <a:spcPts val="635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ru-RU" sz="1482" kern="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ПИР </a:t>
              </a:r>
            </a:p>
            <a:p>
              <a:pPr marL="860268" lvl="4" indent="-376367" defTabSz="967801" eaLnBrk="1" fontAlgn="auto" hangingPunct="1">
                <a:spcBef>
                  <a:spcPts val="0"/>
                </a:spcBef>
                <a:spcAft>
                  <a:spcPts val="635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70" kern="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уточненный прогноз ДДС</a:t>
              </a:r>
            </a:p>
            <a:p>
              <a:pPr marL="860268" lvl="4" indent="-376367" defTabSz="967801" eaLnBrk="1" fontAlgn="auto" hangingPunct="1">
                <a:spcBef>
                  <a:spcPts val="0"/>
                </a:spcBef>
                <a:spcAft>
                  <a:spcPts val="635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70" kern="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Автоматическое создание претензии</a:t>
              </a:r>
            </a:p>
            <a:p>
              <a:pPr marL="860268" lvl="4" indent="-376367" defTabSz="967801" eaLnBrk="1" fontAlgn="auto" hangingPunct="1">
                <a:spcBef>
                  <a:spcPts val="0"/>
                </a:spcBef>
                <a:spcAft>
                  <a:spcPts val="635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70" kern="0" dirty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Напоминания о следующих этапах</a:t>
              </a:r>
              <a:r>
                <a:rPr lang="ru-RU" sz="1693" kern="0" dirty="0">
                  <a:solidFill>
                    <a:srgbClr val="808080">
                      <a:lumMod val="50000"/>
                    </a:srgbClr>
                  </a:solidFill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53" name="Rectangle 12">
            <a:extLst>
              <a:ext uri="{FF2B5EF4-FFF2-40B4-BE49-F238E27FC236}">
                <a16:creationId xmlns:a16="http://schemas.microsoft.com/office/drawing/2014/main" id="{96677015-9973-472D-9A56-49E0851229CF}"/>
              </a:ext>
            </a:extLst>
          </p:cNvPr>
          <p:cNvSpPr/>
          <p:nvPr/>
        </p:nvSpPr>
        <p:spPr>
          <a:xfrm>
            <a:off x="526686" y="2903892"/>
            <a:ext cx="2293675" cy="3117197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lvl="2" defTabSz="9678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82" kern="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4" name="Pentagon 63">
            <a:extLst>
              <a:ext uri="{FF2B5EF4-FFF2-40B4-BE49-F238E27FC236}">
                <a16:creationId xmlns:a16="http://schemas.microsoft.com/office/drawing/2014/main" id="{04B7287F-1E26-4EAB-A2AE-987633C00B96}"/>
              </a:ext>
            </a:extLst>
          </p:cNvPr>
          <p:cNvSpPr/>
          <p:nvPr/>
        </p:nvSpPr>
        <p:spPr>
          <a:xfrm>
            <a:off x="522192" y="1628658"/>
            <a:ext cx="2707020" cy="1137333"/>
          </a:xfrm>
          <a:prstGeom prst="homePlate">
            <a:avLst>
              <a:gd name="adj" fmla="val 33853"/>
            </a:avLst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76226" tIns="76226" rIns="76226" bIns="76226" anchor="ctr"/>
          <a:lstStyle/>
          <a:p>
            <a:pPr algn="ctr" defTabSz="9678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93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Коммерческая политика</a:t>
            </a:r>
            <a:endParaRPr lang="en-US" sz="1693" kern="0" dirty="0">
              <a:solidFill>
                <a:srgbClr val="80808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5" name="Rectangle 122">
            <a:extLst>
              <a:ext uri="{FF2B5EF4-FFF2-40B4-BE49-F238E27FC236}">
                <a16:creationId xmlns:a16="http://schemas.microsoft.com/office/drawing/2014/main" id="{42E6F2A5-1D3C-49E5-B842-A273DF9B2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529" y="2926404"/>
            <a:ext cx="2284832" cy="252697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Типовые условия взаиморасчетов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Классификация контрагентов</a:t>
            </a:r>
          </a:p>
          <a:p>
            <a:pPr marL="278915" lvl="1" indent="-278915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Регламентация условий взаиморасчетов и кредитных лимитов от уровней риска и доходности</a:t>
            </a:r>
          </a:p>
        </p:txBody>
      </p:sp>
      <p:sp>
        <p:nvSpPr>
          <p:cNvPr id="57" name="Rectangle 120">
            <a:extLst>
              <a:ext uri="{FF2B5EF4-FFF2-40B4-BE49-F238E27FC236}">
                <a16:creationId xmlns:a16="http://schemas.microsoft.com/office/drawing/2014/main" id="{0523C6D7-101D-4D4A-A6CB-0B663E791A75}"/>
              </a:ext>
            </a:extLst>
          </p:cNvPr>
          <p:cNvSpPr/>
          <p:nvPr/>
        </p:nvSpPr>
        <p:spPr>
          <a:xfrm>
            <a:off x="5645631" y="2903890"/>
            <a:ext cx="2778720" cy="293227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marL="302438" lvl="2" indent="-302438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АРМ Управление отклонениями</a:t>
            </a:r>
          </a:p>
          <a:p>
            <a:pPr marL="302438" lvl="2" indent="-302438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Оповещения о ближайших платежах</a:t>
            </a:r>
          </a:p>
          <a:p>
            <a:pPr marL="302438" lvl="2" indent="-302438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Контроль в заявках и договорах</a:t>
            </a:r>
          </a:p>
          <a:p>
            <a:pPr marL="302438" lvl="2" indent="-302438">
              <a:spcAft>
                <a:spcPts val="635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482" dirty="0">
                <a:solidFill>
                  <a:srgbClr val="808080">
                    <a:lumMod val="75000"/>
                  </a:srgbClr>
                </a:solidFill>
                <a:latin typeface="Arial"/>
              </a:rPr>
              <a:t>Факторинг </a:t>
            </a:r>
          </a:p>
          <a:p>
            <a:pPr marL="786338" lvl="3" indent="-302438">
              <a:spcAft>
                <a:spcPts val="635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рогноз ДДС</a:t>
            </a:r>
          </a:p>
          <a:p>
            <a:pPr marL="786338" lvl="3" indent="-302438">
              <a:spcAft>
                <a:spcPts val="635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Реестры уступленных денежных требований</a:t>
            </a:r>
          </a:p>
          <a:p>
            <a:pPr marL="786338" lvl="3" indent="-302438">
              <a:spcAft>
                <a:spcPts val="635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Расчет комиссии</a:t>
            </a:r>
            <a:endParaRPr lang="ru-RU" sz="1693" dirty="0">
              <a:solidFill>
                <a:srgbClr val="808080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3284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6"/>
          <p:cNvSpPr txBox="1">
            <a:spLocks noChangeArrowheads="1"/>
          </p:cNvSpPr>
          <p:nvPr/>
        </p:nvSpPr>
        <p:spPr bwMode="auto">
          <a:xfrm>
            <a:off x="6637337" y="189717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None/>
            </a:pPr>
            <a:endParaRPr lang="en-US" altLang="ru-RU" sz="1800">
              <a:solidFill>
                <a:srgbClr val="000000"/>
              </a:solidFill>
            </a:endParaRPr>
          </a:p>
        </p:txBody>
      </p:sp>
      <p:sp>
        <p:nvSpPr>
          <p:cNvPr id="37891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Претензионно-исковая работа</a:t>
            </a:r>
            <a:endParaRPr lang="ru-RU" altLang="ru-RU" dirty="0"/>
          </a:p>
        </p:txBody>
      </p:sp>
      <p:sp>
        <p:nvSpPr>
          <p:cNvPr id="7" name="Блок-схема: документ 6"/>
          <p:cNvSpPr/>
          <p:nvPr/>
        </p:nvSpPr>
        <p:spPr bwMode="auto">
          <a:xfrm>
            <a:off x="3644974" y="3004633"/>
            <a:ext cx="1079500" cy="576263"/>
          </a:xfrm>
          <a:prstGeom prst="flowChartDocument">
            <a:avLst/>
          </a:prstGeom>
          <a:solidFill>
            <a:srgbClr val="14AA96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r>
              <a:rPr lang="ru-RU" altLang="ru-RU" sz="1200" b="1" kern="0" dirty="0">
                <a:solidFill>
                  <a:srgbClr val="FFFFFF"/>
                </a:solidFill>
                <a:latin typeface="Arial"/>
                <a:cs typeface="Tahoma" pitchFamily="34" charset="0"/>
              </a:rPr>
              <a:t>Претензия</a:t>
            </a:r>
          </a:p>
        </p:txBody>
      </p:sp>
      <p:sp>
        <p:nvSpPr>
          <p:cNvPr id="11" name="TextBox 2"/>
          <p:cNvSpPr txBox="1">
            <a:spLocks noChangeArrowheads="1"/>
          </p:cNvSpPr>
          <p:nvPr/>
        </p:nvSpPr>
        <p:spPr bwMode="auto">
          <a:xfrm>
            <a:off x="696992" y="2272794"/>
            <a:ext cx="18774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Нарушение условий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поставки / оплаты</a:t>
            </a:r>
          </a:p>
        </p:txBody>
      </p:sp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696988" y="3137980"/>
            <a:ext cx="21178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Нарушение процедуры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торгов</a:t>
            </a:r>
          </a:p>
        </p:txBody>
      </p:sp>
      <p:sp>
        <p:nvSpPr>
          <p:cNvPr id="15" name="TextBox 20"/>
          <p:cNvSpPr txBox="1">
            <a:spLocks noChangeArrowheads="1"/>
          </p:cNvSpPr>
          <p:nvPr/>
        </p:nvSpPr>
        <p:spPr bwMode="auto">
          <a:xfrm>
            <a:off x="696987" y="3960304"/>
            <a:ext cx="17860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Прочие нарушения</a:t>
            </a:r>
          </a:p>
        </p:txBody>
      </p:sp>
      <p:sp>
        <p:nvSpPr>
          <p:cNvPr id="37903" name="Прямоугольник 26"/>
          <p:cNvSpPr>
            <a:spLocks noChangeArrowheads="1"/>
          </p:cNvSpPr>
          <p:nvPr/>
        </p:nvSpPr>
        <p:spPr bwMode="auto">
          <a:xfrm>
            <a:off x="5229299" y="2969708"/>
            <a:ext cx="1187450" cy="576263"/>
          </a:xfrm>
          <a:prstGeom prst="flowChartDocument">
            <a:avLst/>
          </a:prstGeom>
          <a:solidFill>
            <a:srgbClr val="F6BB4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altLang="ru-RU" sz="1200" b="1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Претензия</a:t>
            </a:r>
          </a:p>
        </p:txBody>
      </p:sp>
      <p:sp>
        <p:nvSpPr>
          <p:cNvPr id="37904" name="Прямоугольник 27"/>
          <p:cNvSpPr>
            <a:spLocks noChangeArrowheads="1"/>
          </p:cNvSpPr>
          <p:nvPr/>
        </p:nvSpPr>
        <p:spPr bwMode="auto">
          <a:xfrm>
            <a:off x="6891683" y="2966533"/>
            <a:ext cx="1187450" cy="576263"/>
          </a:xfrm>
          <a:prstGeom prst="flowChartDocument">
            <a:avLst/>
          </a:prstGeom>
          <a:solidFill>
            <a:srgbClr val="FC6E51"/>
          </a:solidFill>
          <a:ln w="44450" algn="ctr">
            <a:noFill/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None/>
            </a:pPr>
            <a:r>
              <a:rPr lang="ru-RU" altLang="ru-RU" sz="1200" b="1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Претензия</a:t>
            </a:r>
          </a:p>
        </p:txBody>
      </p:sp>
      <p:cxnSp>
        <p:nvCxnSpPr>
          <p:cNvPr id="37905" name="Прямая соединительная линия 7"/>
          <p:cNvCxnSpPr>
            <a:cxnSpLocks noChangeShapeType="1"/>
          </p:cNvCxnSpPr>
          <p:nvPr/>
        </p:nvCxnSpPr>
        <p:spPr bwMode="auto">
          <a:xfrm flipH="1">
            <a:off x="4982461" y="1701296"/>
            <a:ext cx="35701" cy="2817811"/>
          </a:xfrm>
          <a:prstGeom prst="line">
            <a:avLst/>
          </a:prstGeom>
          <a:noFill/>
          <a:ln w="19050" algn="ctr">
            <a:solidFill>
              <a:schemeClr val="bg2">
                <a:alpha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906" name="Прямая соединительная линия 30"/>
          <p:cNvCxnSpPr>
            <a:cxnSpLocks noChangeShapeType="1"/>
          </p:cNvCxnSpPr>
          <p:nvPr/>
        </p:nvCxnSpPr>
        <p:spPr bwMode="auto">
          <a:xfrm>
            <a:off x="6674345" y="1701296"/>
            <a:ext cx="0" cy="2700337"/>
          </a:xfrm>
          <a:prstGeom prst="line">
            <a:avLst/>
          </a:prstGeom>
          <a:noFill/>
          <a:ln w="19050" algn="ctr">
            <a:solidFill>
              <a:schemeClr val="bg2">
                <a:alpha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31"/>
          <p:cNvSpPr txBox="1">
            <a:spLocks noChangeArrowheads="1"/>
          </p:cNvSpPr>
          <p:nvPr/>
        </p:nvSpPr>
        <p:spPr bwMode="auto">
          <a:xfrm>
            <a:off x="5213425" y="1710821"/>
            <a:ext cx="13067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b="1" kern="0" dirty="0">
                <a:solidFill>
                  <a:srgbClr val="F6BB42"/>
                </a:solidFill>
              </a:rPr>
              <a:t>Досудебные</a:t>
            </a:r>
          </a:p>
        </p:txBody>
      </p:sp>
      <p:sp>
        <p:nvSpPr>
          <p:cNvPr id="22" name="TextBox 32"/>
          <p:cNvSpPr txBox="1">
            <a:spLocks noChangeArrowheads="1"/>
          </p:cNvSpPr>
          <p:nvPr/>
        </p:nvSpPr>
        <p:spPr bwMode="auto">
          <a:xfrm>
            <a:off x="6899627" y="1710821"/>
            <a:ext cx="109998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b="1" kern="0" dirty="0">
                <a:solidFill>
                  <a:srgbClr val="FC6E51"/>
                </a:solidFill>
              </a:rPr>
              <a:t>Судебные</a:t>
            </a:r>
          </a:p>
        </p:txBody>
      </p:sp>
      <p:cxnSp>
        <p:nvCxnSpPr>
          <p:cNvPr id="37909" name="Прямая соединительная линия 33"/>
          <p:cNvCxnSpPr>
            <a:cxnSpLocks noChangeShapeType="1"/>
          </p:cNvCxnSpPr>
          <p:nvPr/>
        </p:nvCxnSpPr>
        <p:spPr bwMode="auto">
          <a:xfrm>
            <a:off x="8258521" y="1701296"/>
            <a:ext cx="0" cy="2700337"/>
          </a:xfrm>
          <a:prstGeom prst="line">
            <a:avLst/>
          </a:prstGeom>
          <a:noFill/>
          <a:ln w="19050" algn="ctr">
            <a:solidFill>
              <a:schemeClr val="bg2">
                <a:alpha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37"/>
          <p:cNvSpPr txBox="1">
            <a:spLocks noChangeArrowheads="1"/>
          </p:cNvSpPr>
          <p:nvPr/>
        </p:nvSpPr>
        <p:spPr bwMode="auto">
          <a:xfrm>
            <a:off x="3578299" y="1701296"/>
            <a:ext cx="131157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b="1" kern="0" dirty="0">
                <a:solidFill>
                  <a:srgbClr val="14AA96"/>
                </a:solidFill>
              </a:rPr>
              <a:t>Регистрация</a:t>
            </a:r>
          </a:p>
        </p:txBody>
      </p:sp>
      <p:sp>
        <p:nvSpPr>
          <p:cNvPr id="37911" name="Прямоугольная выноска 8"/>
          <p:cNvSpPr>
            <a:spLocks noChangeArrowheads="1"/>
          </p:cNvSpPr>
          <p:nvPr/>
        </p:nvSpPr>
        <p:spPr bwMode="auto">
          <a:xfrm>
            <a:off x="3644974" y="2206113"/>
            <a:ext cx="1068383" cy="503237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14AA96">
              <a:alpha val="70000"/>
            </a:srgbClr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None/>
            </a:pPr>
            <a:r>
              <a:rPr lang="ru-RU" altLang="ru-RU" sz="1200" dirty="0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Позиции сторон</a:t>
            </a:r>
          </a:p>
        </p:txBody>
      </p:sp>
      <p:sp>
        <p:nvSpPr>
          <p:cNvPr id="37912" name="Прямоугольная выноска 40"/>
          <p:cNvSpPr>
            <a:spLocks noChangeArrowheads="1"/>
          </p:cNvSpPr>
          <p:nvPr/>
        </p:nvSpPr>
        <p:spPr bwMode="auto">
          <a:xfrm>
            <a:off x="5229299" y="2206113"/>
            <a:ext cx="1187450" cy="503237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6BB42">
              <a:alpha val="70000"/>
            </a:srgbClr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50000"/>
              </a:spcBef>
            </a:pPr>
            <a:r>
              <a:rPr lang="ru-RU" altLang="ru-RU" sz="1200" dirty="0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Поиск решения</a:t>
            </a:r>
          </a:p>
        </p:txBody>
      </p:sp>
      <p:sp>
        <p:nvSpPr>
          <p:cNvPr id="37913" name="Прямоугольная выноска 41"/>
          <p:cNvSpPr>
            <a:spLocks noChangeArrowheads="1"/>
          </p:cNvSpPr>
          <p:nvPr/>
        </p:nvSpPr>
        <p:spPr bwMode="auto">
          <a:xfrm>
            <a:off x="6891683" y="2206113"/>
            <a:ext cx="1185862" cy="503237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C6E51">
              <a:alpha val="70000"/>
            </a:srgbClr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None/>
            </a:pPr>
            <a:r>
              <a:rPr lang="ru-RU" altLang="ru-RU" sz="1200" dirty="0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Арбитраж</a:t>
            </a:r>
          </a:p>
        </p:txBody>
      </p:sp>
      <p:sp>
        <p:nvSpPr>
          <p:cNvPr id="37914" name="Прямоугольная выноска 42"/>
          <p:cNvSpPr>
            <a:spLocks noChangeArrowheads="1"/>
          </p:cNvSpPr>
          <p:nvPr/>
        </p:nvSpPr>
        <p:spPr bwMode="auto">
          <a:xfrm>
            <a:off x="5229299" y="3861876"/>
            <a:ext cx="1187450" cy="504825"/>
          </a:xfrm>
          <a:prstGeom prst="wedgeRectCallout">
            <a:avLst>
              <a:gd name="adj1" fmla="val -25644"/>
              <a:gd name="adj2" fmla="val -64106"/>
            </a:avLst>
          </a:prstGeom>
          <a:solidFill>
            <a:srgbClr val="F6BB42">
              <a:alpha val="70000"/>
            </a:srgbClr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50000"/>
              </a:spcBef>
            </a:pPr>
            <a:r>
              <a:rPr lang="ru-RU" altLang="ru-RU" sz="1200" dirty="0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Прогноз взыскания</a:t>
            </a:r>
          </a:p>
        </p:txBody>
      </p:sp>
      <p:sp>
        <p:nvSpPr>
          <p:cNvPr id="37915" name="Прямоугольная выноска 43"/>
          <p:cNvSpPr>
            <a:spLocks noChangeArrowheads="1"/>
          </p:cNvSpPr>
          <p:nvPr/>
        </p:nvSpPr>
        <p:spPr bwMode="auto">
          <a:xfrm>
            <a:off x="3644975" y="3837806"/>
            <a:ext cx="1068382" cy="504825"/>
          </a:xfrm>
          <a:prstGeom prst="wedgeRectCallout">
            <a:avLst>
              <a:gd name="adj1" fmla="val -25644"/>
              <a:gd name="adj2" fmla="val -64106"/>
            </a:avLst>
          </a:prstGeom>
          <a:solidFill>
            <a:srgbClr val="14AA96">
              <a:alpha val="70000"/>
            </a:srgbClr>
          </a:solidFill>
          <a:ln w="6350" algn="ctr">
            <a:noFill/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None/>
            </a:pPr>
            <a:r>
              <a:rPr lang="ru-RU" altLang="ru-RU" sz="1200" dirty="0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Документ основание</a:t>
            </a:r>
          </a:p>
        </p:txBody>
      </p:sp>
      <p:sp>
        <p:nvSpPr>
          <p:cNvPr id="37916" name="Прямоугольная выноска 44"/>
          <p:cNvSpPr>
            <a:spLocks noChangeArrowheads="1"/>
          </p:cNvSpPr>
          <p:nvPr/>
        </p:nvSpPr>
        <p:spPr bwMode="auto">
          <a:xfrm>
            <a:off x="6891683" y="3861876"/>
            <a:ext cx="1185862" cy="504825"/>
          </a:xfrm>
          <a:prstGeom prst="wedgeRectCallout">
            <a:avLst>
              <a:gd name="adj1" fmla="val -25644"/>
              <a:gd name="adj2" fmla="val -64106"/>
            </a:avLst>
          </a:prstGeom>
          <a:solidFill>
            <a:srgbClr val="FC6E51">
              <a:alpha val="70000"/>
            </a:srgbClr>
          </a:solidFill>
          <a:ln w="6350" algn="ctr">
            <a:noFill/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None/>
            </a:pPr>
            <a:r>
              <a:rPr lang="ru-RU" altLang="ru-RU" sz="1200">
                <a:solidFill>
                  <a:srgbClr val="FFFFFF"/>
                </a:solidFill>
                <a:latin typeface="Arial"/>
                <a:cs typeface="Tahoma" panose="020B0604030504040204" pitchFamily="34" charset="0"/>
              </a:rPr>
              <a:t>Сроки возврата</a:t>
            </a:r>
          </a:p>
        </p:txBody>
      </p:sp>
      <p:sp>
        <p:nvSpPr>
          <p:cNvPr id="31" name="Правая фигурная скобка 14"/>
          <p:cNvSpPr>
            <a:spLocks/>
          </p:cNvSpPr>
          <p:nvPr/>
        </p:nvSpPr>
        <p:spPr bwMode="auto">
          <a:xfrm>
            <a:off x="3348111" y="2133096"/>
            <a:ext cx="215900" cy="2376487"/>
          </a:xfrm>
          <a:prstGeom prst="rightBrace">
            <a:avLst>
              <a:gd name="adj1" fmla="val 8357"/>
              <a:gd name="adj2" fmla="val 50000"/>
            </a:avLst>
          </a:prstGeom>
          <a:solidFill>
            <a:sysClr val="window" lastClr="FFFFFF">
              <a:alpha val="0"/>
            </a:sysClr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2" name="TextBox 46"/>
          <p:cNvSpPr txBox="1">
            <a:spLocks noChangeArrowheads="1"/>
          </p:cNvSpPr>
          <p:nvPr/>
        </p:nvSpPr>
        <p:spPr bwMode="auto">
          <a:xfrm>
            <a:off x="6967887" y="4471481"/>
            <a:ext cx="1189749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>
                <a:solidFill>
                  <a:srgbClr val="808080"/>
                </a:solidFill>
              </a:rPr>
              <a:t>Номер дела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>
                <a:solidFill>
                  <a:srgbClr val="808080"/>
                </a:solidFill>
              </a:rPr>
              <a:t>Суд / Судья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>
                <a:solidFill>
                  <a:srgbClr val="808080"/>
                </a:solidFill>
              </a:rPr>
              <a:t>Дата слушания</a:t>
            </a:r>
          </a:p>
        </p:txBody>
      </p:sp>
      <p:sp>
        <p:nvSpPr>
          <p:cNvPr id="33" name="TextBox 47"/>
          <p:cNvSpPr txBox="1">
            <a:spLocks noChangeArrowheads="1"/>
          </p:cNvSpPr>
          <p:nvPr/>
        </p:nvSpPr>
        <p:spPr bwMode="auto">
          <a:xfrm>
            <a:off x="5234062" y="4519107"/>
            <a:ext cx="135325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>
                <a:solidFill>
                  <a:srgbClr val="808080"/>
                </a:solidFill>
              </a:rPr>
              <a:t>Дата следующего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>
                <a:solidFill>
                  <a:srgbClr val="808080"/>
                </a:solidFill>
              </a:rPr>
              <a:t>мероприятия</a:t>
            </a:r>
          </a:p>
        </p:txBody>
      </p:sp>
      <p:sp>
        <p:nvSpPr>
          <p:cNvPr id="34" name="TextBox 48"/>
          <p:cNvSpPr txBox="1">
            <a:spLocks noChangeArrowheads="1"/>
          </p:cNvSpPr>
          <p:nvPr/>
        </p:nvSpPr>
        <p:spPr bwMode="auto">
          <a:xfrm>
            <a:off x="8293163" y="2972881"/>
            <a:ext cx="10454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Закрытие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400" kern="0" dirty="0">
                <a:solidFill>
                  <a:srgbClr val="808080"/>
                </a:solidFill>
              </a:rPr>
              <a:t>претензии</a:t>
            </a:r>
          </a:p>
        </p:txBody>
      </p:sp>
      <p:sp>
        <p:nvSpPr>
          <p:cNvPr id="35" name="Стрелка вниз 28"/>
          <p:cNvSpPr>
            <a:spLocks noChangeArrowheads="1"/>
          </p:cNvSpPr>
          <p:nvPr/>
        </p:nvSpPr>
        <p:spPr bwMode="auto">
          <a:xfrm>
            <a:off x="4029149" y="5106473"/>
            <a:ext cx="341312" cy="446088"/>
          </a:xfrm>
          <a:prstGeom prst="downArrow">
            <a:avLst>
              <a:gd name="adj1" fmla="val 50000"/>
              <a:gd name="adj2" fmla="val 49913"/>
            </a:avLst>
          </a:prstGeom>
          <a:solidFill>
            <a:schemeClr val="bg2"/>
          </a:solidFill>
          <a:ln w="44450" algn="ctr">
            <a:noFill/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6" name="Стрелка вниз 50"/>
          <p:cNvSpPr>
            <a:spLocks noChangeArrowheads="1"/>
          </p:cNvSpPr>
          <p:nvPr/>
        </p:nvSpPr>
        <p:spPr bwMode="auto">
          <a:xfrm>
            <a:off x="5705549" y="5106473"/>
            <a:ext cx="341312" cy="446088"/>
          </a:xfrm>
          <a:prstGeom prst="downArrow">
            <a:avLst>
              <a:gd name="adj1" fmla="val 50000"/>
              <a:gd name="adj2" fmla="val 49913"/>
            </a:avLst>
          </a:prstGeom>
          <a:solidFill>
            <a:schemeClr val="bg2"/>
          </a:solidFill>
          <a:ln w="44450" algn="ctr">
            <a:noFill/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7" name="Стрелка вниз 51"/>
          <p:cNvSpPr>
            <a:spLocks noChangeArrowheads="1"/>
          </p:cNvSpPr>
          <p:nvPr/>
        </p:nvSpPr>
        <p:spPr bwMode="auto">
          <a:xfrm>
            <a:off x="7271102" y="5106473"/>
            <a:ext cx="339725" cy="446088"/>
          </a:xfrm>
          <a:prstGeom prst="downArrow">
            <a:avLst>
              <a:gd name="adj1" fmla="val 50000"/>
              <a:gd name="adj2" fmla="val 50146"/>
            </a:avLst>
          </a:prstGeom>
          <a:solidFill>
            <a:schemeClr val="bg2"/>
          </a:solidFill>
          <a:ln w="44450" algn="ctr">
            <a:noFill/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8" name="TextBox 29"/>
          <p:cNvSpPr txBox="1">
            <a:spLocks noChangeArrowheads="1"/>
          </p:cNvSpPr>
          <p:nvPr/>
        </p:nvSpPr>
        <p:spPr bwMode="auto">
          <a:xfrm>
            <a:off x="3439149" y="5746244"/>
            <a:ext cx="461376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2000" kern="0" dirty="0">
                <a:solidFill>
                  <a:srgbClr val="808080"/>
                </a:solidFill>
              </a:rPr>
              <a:t>УТОЧНЕННЫЙ ПРОГНОЗ </a:t>
            </a:r>
            <a:br>
              <a:rPr lang="ru-RU" altLang="ru-RU" sz="2000" kern="0" dirty="0">
                <a:solidFill>
                  <a:srgbClr val="808080"/>
                </a:solidFill>
              </a:rPr>
            </a:br>
            <a:r>
              <a:rPr lang="ru-RU" altLang="ru-RU" sz="2000" b="1" kern="0" dirty="0">
                <a:solidFill>
                  <a:srgbClr val="808080"/>
                </a:solidFill>
              </a:rPr>
              <a:t>ДВИЖЕНИЯ</a:t>
            </a:r>
            <a:r>
              <a:rPr lang="ru-RU" altLang="ru-RU" sz="2000" kern="0" dirty="0">
                <a:solidFill>
                  <a:srgbClr val="808080"/>
                </a:solidFill>
              </a:rPr>
              <a:t> </a:t>
            </a:r>
            <a:r>
              <a:rPr lang="ru-RU" altLang="ru-RU" sz="2000" b="1" kern="0" dirty="0">
                <a:solidFill>
                  <a:srgbClr val="808080"/>
                </a:solidFill>
              </a:rPr>
              <a:t>ДЕНЕЖНЫХ СРЕДСТВ</a:t>
            </a:r>
          </a:p>
        </p:txBody>
      </p:sp>
      <p:sp>
        <p:nvSpPr>
          <p:cNvPr id="39" name="TextBox 55"/>
          <p:cNvSpPr txBox="1">
            <a:spLocks noChangeArrowheads="1"/>
          </p:cNvSpPr>
          <p:nvPr/>
        </p:nvSpPr>
        <p:spPr bwMode="auto">
          <a:xfrm>
            <a:off x="3644813" y="4519107"/>
            <a:ext cx="98616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 dirty="0">
                <a:solidFill>
                  <a:srgbClr val="808080"/>
                </a:solidFill>
              </a:rPr>
              <a:t>Финансовая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ru-RU" altLang="ru-RU" sz="1100" kern="0" dirty="0">
                <a:solidFill>
                  <a:srgbClr val="808080"/>
                </a:solidFill>
              </a:rPr>
              <a:t>претензия</a:t>
            </a:r>
          </a:p>
        </p:txBody>
      </p:sp>
      <p:sp>
        <p:nvSpPr>
          <p:cNvPr id="45" name="Freeform 46"/>
          <p:cNvSpPr>
            <a:spLocks noChangeAspect="1" noEditPoints="1"/>
          </p:cNvSpPr>
          <p:nvPr/>
        </p:nvSpPr>
        <p:spPr bwMode="auto">
          <a:xfrm>
            <a:off x="2856465" y="2156762"/>
            <a:ext cx="429195" cy="595617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6" name="Freeform 46"/>
          <p:cNvSpPr>
            <a:spLocks noChangeAspect="1" noEditPoints="1"/>
          </p:cNvSpPr>
          <p:nvPr/>
        </p:nvSpPr>
        <p:spPr bwMode="auto">
          <a:xfrm>
            <a:off x="2856466" y="2994162"/>
            <a:ext cx="429195" cy="595617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7" name="Freeform 46"/>
          <p:cNvSpPr>
            <a:spLocks noChangeAspect="1" noEditPoints="1"/>
          </p:cNvSpPr>
          <p:nvPr/>
        </p:nvSpPr>
        <p:spPr bwMode="auto">
          <a:xfrm>
            <a:off x="2856465" y="3816383"/>
            <a:ext cx="429195" cy="595617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8" name="Стрелка вправо 11"/>
          <p:cNvSpPr>
            <a:spLocks noChangeArrowheads="1"/>
          </p:cNvSpPr>
          <p:nvPr/>
        </p:nvSpPr>
        <p:spPr bwMode="auto">
          <a:xfrm>
            <a:off x="6450467" y="3078345"/>
            <a:ext cx="426243" cy="360362"/>
          </a:xfrm>
          <a:prstGeom prst="rightArrow">
            <a:avLst>
              <a:gd name="adj1" fmla="val 50000"/>
              <a:gd name="adj2" fmla="val 49872"/>
            </a:avLst>
          </a:prstGeom>
          <a:solidFill>
            <a:srgbClr val="F6BB42"/>
          </a:solidFill>
          <a:ln w="44450" algn="ctr">
            <a:noFill/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8" name="Стрелка вправо 11"/>
          <p:cNvSpPr>
            <a:spLocks noChangeArrowheads="1"/>
          </p:cNvSpPr>
          <p:nvPr/>
        </p:nvSpPr>
        <p:spPr bwMode="auto">
          <a:xfrm>
            <a:off x="4769340" y="3111788"/>
            <a:ext cx="426243" cy="360362"/>
          </a:xfrm>
          <a:prstGeom prst="rightArrow">
            <a:avLst>
              <a:gd name="adj1" fmla="val 50000"/>
              <a:gd name="adj2" fmla="val 49872"/>
            </a:avLst>
          </a:prstGeom>
          <a:solidFill>
            <a:srgbClr val="14AA96"/>
          </a:solidFill>
          <a:ln w="44450" algn="ctr">
            <a:noFill/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584595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083" y="1237168"/>
            <a:ext cx="6494065" cy="5356107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1082" y="3282909"/>
            <a:ext cx="8978176" cy="281745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999" dirty="0" err="1">
                <a:solidFill>
                  <a:schemeClr val="bg2">
                    <a:lumMod val="50000"/>
                  </a:schemeClr>
                </a:solidFill>
              </a:rPr>
              <a:t>Претензионно</a:t>
            </a:r>
            <a:r>
              <a:rPr lang="ru-RU" sz="1999" dirty="0">
                <a:solidFill>
                  <a:schemeClr val="bg2">
                    <a:lumMod val="50000"/>
                  </a:schemeClr>
                </a:solidFill>
              </a:rPr>
              <a:t>-исковая работа</a:t>
            </a:r>
            <a:br>
              <a:rPr lang="ru-RU" sz="1999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999" dirty="0">
                <a:solidFill>
                  <a:schemeClr val="bg2">
                    <a:lumMod val="50000"/>
                  </a:schemeClr>
                </a:solidFill>
              </a:rPr>
              <a:t>Представление в систем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7273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" dur="indefinite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11267" name="Заголовок 3"/>
          <p:cNvSpPr>
            <a:spLocks noGrp="1"/>
          </p:cNvSpPr>
          <p:nvPr>
            <p:ph type="title"/>
          </p:nvPr>
        </p:nvSpPr>
        <p:spPr>
          <a:xfrm>
            <a:off x="3217268" y="43010"/>
            <a:ext cx="6696075" cy="1081088"/>
          </a:xfrm>
        </p:spPr>
        <p:txBody>
          <a:bodyPr/>
          <a:lstStyle/>
          <a:p>
            <a:r>
              <a:rPr lang="ru-RU" altLang="ru-RU" dirty="0"/>
              <a:t>Факторинг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552971" y="1142900"/>
            <a:ext cx="7543188" cy="4504417"/>
            <a:chOff x="2857227" y="1557587"/>
            <a:chExt cx="6391060" cy="3816423"/>
          </a:xfrm>
        </p:grpSpPr>
        <p:sp>
          <p:nvSpPr>
            <p:cNvPr id="32" name="Freeform 100"/>
            <p:cNvSpPr>
              <a:spLocks noChangeAspect="1" noEditPoints="1"/>
            </p:cNvSpPr>
            <p:nvPr/>
          </p:nvSpPr>
          <p:spPr bwMode="auto">
            <a:xfrm>
              <a:off x="8505407" y="1870921"/>
              <a:ext cx="298450" cy="766763"/>
            </a:xfrm>
            <a:custGeom>
              <a:avLst/>
              <a:gdLst>
                <a:gd name="T0" fmla="*/ 2147483647 w 1850"/>
                <a:gd name="T1" fmla="*/ 2147483647 h 4763"/>
                <a:gd name="T2" fmla="*/ 0 w 1850"/>
                <a:gd name="T3" fmla="*/ 2147483647 h 4763"/>
                <a:gd name="T4" fmla="*/ 2147483647 w 1850"/>
                <a:gd name="T5" fmla="*/ 2147483647 h 4763"/>
                <a:gd name="T6" fmla="*/ 2147483647 w 1850"/>
                <a:gd name="T7" fmla="*/ 2147483647 h 4763"/>
                <a:gd name="T8" fmla="*/ 2147483647 w 1850"/>
                <a:gd name="T9" fmla="*/ 2147483647 h 4763"/>
                <a:gd name="T10" fmla="*/ 2147483647 w 1850"/>
                <a:gd name="T11" fmla="*/ 2147483647 h 4763"/>
                <a:gd name="T12" fmla="*/ 2147483647 w 1850"/>
                <a:gd name="T13" fmla="*/ 2147483647 h 4763"/>
                <a:gd name="T14" fmla="*/ 2147483647 w 1850"/>
                <a:gd name="T15" fmla="*/ 2147483647 h 4763"/>
                <a:gd name="T16" fmla="*/ 2147483647 w 1850"/>
                <a:gd name="T17" fmla="*/ 2147483647 h 4763"/>
                <a:gd name="T18" fmla="*/ 2147483647 w 1850"/>
                <a:gd name="T19" fmla="*/ 2147483647 h 4763"/>
                <a:gd name="T20" fmla="*/ 2147483647 w 1850"/>
                <a:gd name="T21" fmla="*/ 2147483647 h 4763"/>
                <a:gd name="T22" fmla="*/ 2147483647 w 1850"/>
                <a:gd name="T23" fmla="*/ 2147483647 h 4763"/>
                <a:gd name="T24" fmla="*/ 2147483647 w 1850"/>
                <a:gd name="T25" fmla="*/ 2147483647 h 4763"/>
                <a:gd name="T26" fmla="*/ 2147483647 w 1850"/>
                <a:gd name="T27" fmla="*/ 2147483647 h 4763"/>
                <a:gd name="T28" fmla="*/ 2147483647 w 1850"/>
                <a:gd name="T29" fmla="*/ 2147483647 h 4763"/>
                <a:gd name="T30" fmla="*/ 2147483647 w 1850"/>
                <a:gd name="T31" fmla="*/ 2147483647 h 4763"/>
                <a:gd name="T32" fmla="*/ 2147483647 w 1850"/>
                <a:gd name="T33" fmla="*/ 2147483647 h 4763"/>
                <a:gd name="T34" fmla="*/ 2147483647 w 1850"/>
                <a:gd name="T35" fmla="*/ 2147483647 h 4763"/>
                <a:gd name="T36" fmla="*/ 2147483647 w 1850"/>
                <a:gd name="T37" fmla="*/ 2147483647 h 4763"/>
                <a:gd name="T38" fmla="*/ 2147483647 w 1850"/>
                <a:gd name="T39" fmla="*/ 2147483647 h 4763"/>
                <a:gd name="T40" fmla="*/ 2147483647 w 1850"/>
                <a:gd name="T41" fmla="*/ 2147483647 h 4763"/>
                <a:gd name="T42" fmla="*/ 2147483647 w 1850"/>
                <a:gd name="T43" fmla="*/ 2147483647 h 4763"/>
                <a:gd name="T44" fmla="*/ 2147483647 w 1850"/>
                <a:gd name="T45" fmla="*/ 2147483647 h 4763"/>
                <a:gd name="T46" fmla="*/ 2147483647 w 1850"/>
                <a:gd name="T47" fmla="*/ 2147483647 h 4763"/>
                <a:gd name="T48" fmla="*/ 2147483647 w 1850"/>
                <a:gd name="T49" fmla="*/ 2147483647 h 4763"/>
                <a:gd name="T50" fmla="*/ 2147483647 w 1850"/>
                <a:gd name="T51" fmla="*/ 2147483647 h 4763"/>
                <a:gd name="T52" fmla="*/ 2147483647 w 1850"/>
                <a:gd name="T53" fmla="*/ 2147483647 h 4763"/>
                <a:gd name="T54" fmla="*/ 2147483647 w 1850"/>
                <a:gd name="T55" fmla="*/ 2147483647 h 4763"/>
                <a:gd name="T56" fmla="*/ 2147483647 w 1850"/>
                <a:gd name="T57" fmla="*/ 2147483647 h 4763"/>
                <a:gd name="T58" fmla="*/ 2147483647 w 1850"/>
                <a:gd name="T59" fmla="*/ 2147483647 h 4763"/>
                <a:gd name="T60" fmla="*/ 2147483647 w 1850"/>
                <a:gd name="T61" fmla="*/ 2147483647 h 4763"/>
                <a:gd name="T62" fmla="*/ 2147483647 w 1850"/>
                <a:gd name="T63" fmla="*/ 2147483647 h 4763"/>
                <a:gd name="T64" fmla="*/ 2147483647 w 1850"/>
                <a:gd name="T65" fmla="*/ 2147483647 h 4763"/>
                <a:gd name="T66" fmla="*/ 2147483647 w 1850"/>
                <a:gd name="T67" fmla="*/ 2147483647 h 4763"/>
                <a:gd name="T68" fmla="*/ 2147483647 w 1850"/>
                <a:gd name="T69" fmla="*/ 2147483647 h 4763"/>
                <a:gd name="T70" fmla="*/ 2147483647 w 1850"/>
                <a:gd name="T71" fmla="*/ 2147483647 h 4763"/>
                <a:gd name="T72" fmla="*/ 2147483647 w 1850"/>
                <a:gd name="T73" fmla="*/ 2147483647 h 4763"/>
                <a:gd name="T74" fmla="*/ 2147483647 w 1850"/>
                <a:gd name="T75" fmla="*/ 2147483647 h 4763"/>
                <a:gd name="T76" fmla="*/ 2147483647 w 1850"/>
                <a:gd name="T77" fmla="*/ 2147483647 h 4763"/>
                <a:gd name="T78" fmla="*/ 2147483647 w 1850"/>
                <a:gd name="T79" fmla="*/ 2147483647 h 4763"/>
                <a:gd name="T80" fmla="*/ 2147483647 w 1850"/>
                <a:gd name="T81" fmla="*/ 2147483647 h 4763"/>
                <a:gd name="T82" fmla="*/ 2147483647 w 1850"/>
                <a:gd name="T83" fmla="*/ 2147483647 h 4763"/>
                <a:gd name="T84" fmla="*/ 2147483647 w 1850"/>
                <a:gd name="T85" fmla="*/ 2147483647 h 4763"/>
                <a:gd name="T86" fmla="*/ 2147483647 w 1850"/>
                <a:gd name="T87" fmla="*/ 2147483647 h 4763"/>
                <a:gd name="T88" fmla="*/ 2147483647 w 1850"/>
                <a:gd name="T89" fmla="*/ 2147483647 h 4763"/>
                <a:gd name="T90" fmla="*/ 2147483647 w 1850"/>
                <a:gd name="T91" fmla="*/ 2147483647 h 4763"/>
                <a:gd name="T92" fmla="*/ 2147483647 w 1850"/>
                <a:gd name="T93" fmla="*/ 2147483647 h 4763"/>
                <a:gd name="T94" fmla="*/ 2147483647 w 1850"/>
                <a:gd name="T95" fmla="*/ 2147483647 h 4763"/>
                <a:gd name="T96" fmla="*/ 2147483647 w 1850"/>
                <a:gd name="T97" fmla="*/ 2147483647 h 4763"/>
                <a:gd name="T98" fmla="*/ 2147483647 w 1850"/>
                <a:gd name="T99" fmla="*/ 2147483647 h 4763"/>
                <a:gd name="T100" fmla="*/ 2147483647 w 1850"/>
                <a:gd name="T101" fmla="*/ 2147483647 h 4763"/>
                <a:gd name="T102" fmla="*/ 2147483647 w 1850"/>
                <a:gd name="T103" fmla="*/ 2147483647 h 4763"/>
                <a:gd name="T104" fmla="*/ 2147483647 w 1850"/>
                <a:gd name="T105" fmla="*/ 2147483647 h 4763"/>
                <a:gd name="T106" fmla="*/ 2147483647 w 1850"/>
                <a:gd name="T107" fmla="*/ 2147483647 h 4763"/>
                <a:gd name="T108" fmla="*/ 2147483647 w 1850"/>
                <a:gd name="T109" fmla="*/ 2147483647 h 4763"/>
                <a:gd name="T110" fmla="*/ 2147483647 w 1850"/>
                <a:gd name="T111" fmla="*/ 2147483647 h 4763"/>
                <a:gd name="T112" fmla="*/ 2147483647 w 1850"/>
                <a:gd name="T113" fmla="*/ 2147483647 h 4763"/>
                <a:gd name="T114" fmla="*/ 2147483647 w 1850"/>
                <a:gd name="T115" fmla="*/ 2147483647 h 4763"/>
                <a:gd name="T116" fmla="*/ 2147483647 w 1850"/>
                <a:gd name="T117" fmla="*/ 2147483647 h 4763"/>
                <a:gd name="T118" fmla="*/ 2147483647 w 1850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50"/>
                <a:gd name="T181" fmla="*/ 0 h 4763"/>
                <a:gd name="T182" fmla="*/ 1850 w 1850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50" h="4763">
                  <a:moveTo>
                    <a:pt x="352" y="3267"/>
                  </a:moveTo>
                  <a:lnTo>
                    <a:pt x="153" y="3107"/>
                  </a:lnTo>
                  <a:lnTo>
                    <a:pt x="70" y="2776"/>
                  </a:lnTo>
                  <a:lnTo>
                    <a:pt x="123" y="2776"/>
                  </a:lnTo>
                  <a:lnTo>
                    <a:pt x="200" y="3077"/>
                  </a:lnTo>
                  <a:lnTo>
                    <a:pt x="348" y="3198"/>
                  </a:lnTo>
                  <a:lnTo>
                    <a:pt x="326" y="2724"/>
                  </a:lnTo>
                  <a:lnTo>
                    <a:pt x="271" y="2724"/>
                  </a:lnTo>
                  <a:lnTo>
                    <a:pt x="110" y="2724"/>
                  </a:lnTo>
                  <a:lnTo>
                    <a:pt x="57" y="2724"/>
                  </a:lnTo>
                  <a:lnTo>
                    <a:pt x="0" y="2724"/>
                  </a:lnTo>
                  <a:lnTo>
                    <a:pt x="0" y="1160"/>
                  </a:lnTo>
                  <a:lnTo>
                    <a:pt x="0" y="1139"/>
                  </a:lnTo>
                  <a:lnTo>
                    <a:pt x="4" y="1121"/>
                  </a:lnTo>
                  <a:lnTo>
                    <a:pt x="9" y="1103"/>
                  </a:lnTo>
                  <a:lnTo>
                    <a:pt x="16" y="1087"/>
                  </a:lnTo>
                  <a:lnTo>
                    <a:pt x="23" y="1073"/>
                  </a:lnTo>
                  <a:lnTo>
                    <a:pt x="34" y="1059"/>
                  </a:lnTo>
                  <a:lnTo>
                    <a:pt x="45" y="1047"/>
                  </a:lnTo>
                  <a:lnTo>
                    <a:pt x="57" y="1035"/>
                  </a:lnTo>
                  <a:lnTo>
                    <a:pt x="71" y="1025"/>
                  </a:lnTo>
                  <a:lnTo>
                    <a:pt x="87" y="1016"/>
                  </a:lnTo>
                  <a:lnTo>
                    <a:pt x="103" y="1007"/>
                  </a:lnTo>
                  <a:lnTo>
                    <a:pt x="121" y="998"/>
                  </a:lnTo>
                  <a:lnTo>
                    <a:pt x="157" y="982"/>
                  </a:lnTo>
                  <a:lnTo>
                    <a:pt x="196" y="968"/>
                  </a:lnTo>
                  <a:lnTo>
                    <a:pt x="592" y="823"/>
                  </a:lnTo>
                  <a:lnTo>
                    <a:pt x="719" y="1576"/>
                  </a:lnTo>
                  <a:lnTo>
                    <a:pt x="780" y="1033"/>
                  </a:lnTo>
                  <a:lnTo>
                    <a:pt x="766" y="1025"/>
                  </a:lnTo>
                  <a:lnTo>
                    <a:pt x="753" y="1016"/>
                  </a:lnTo>
                  <a:lnTo>
                    <a:pt x="741" y="1004"/>
                  </a:lnTo>
                  <a:lnTo>
                    <a:pt x="732" y="991"/>
                  </a:lnTo>
                  <a:lnTo>
                    <a:pt x="831" y="898"/>
                  </a:lnTo>
                  <a:lnTo>
                    <a:pt x="930" y="991"/>
                  </a:lnTo>
                  <a:lnTo>
                    <a:pt x="920" y="1004"/>
                  </a:lnTo>
                  <a:lnTo>
                    <a:pt x="909" y="1016"/>
                  </a:lnTo>
                  <a:lnTo>
                    <a:pt x="897" y="1025"/>
                  </a:lnTo>
                  <a:lnTo>
                    <a:pt x="883" y="1033"/>
                  </a:lnTo>
                  <a:lnTo>
                    <a:pt x="943" y="1576"/>
                  </a:lnTo>
                  <a:lnTo>
                    <a:pt x="1070" y="823"/>
                  </a:lnTo>
                  <a:lnTo>
                    <a:pt x="1466" y="968"/>
                  </a:lnTo>
                  <a:lnTo>
                    <a:pt x="1505" y="982"/>
                  </a:lnTo>
                  <a:lnTo>
                    <a:pt x="1540" y="998"/>
                  </a:lnTo>
                  <a:lnTo>
                    <a:pt x="1555" y="1007"/>
                  </a:lnTo>
                  <a:lnTo>
                    <a:pt x="1571" y="1016"/>
                  </a:lnTo>
                  <a:lnTo>
                    <a:pt x="1584" y="1025"/>
                  </a:lnTo>
                  <a:lnTo>
                    <a:pt x="1597" y="1037"/>
                  </a:lnTo>
                  <a:lnTo>
                    <a:pt x="1610" y="1047"/>
                  </a:lnTo>
                  <a:lnTo>
                    <a:pt x="1620" y="1060"/>
                  </a:lnTo>
                  <a:lnTo>
                    <a:pt x="1631" y="1073"/>
                  </a:lnTo>
                  <a:lnTo>
                    <a:pt x="1638" y="1087"/>
                  </a:lnTo>
                  <a:lnTo>
                    <a:pt x="1646" y="1104"/>
                  </a:lnTo>
                  <a:lnTo>
                    <a:pt x="1653" y="1121"/>
                  </a:lnTo>
                  <a:lnTo>
                    <a:pt x="1658" y="1139"/>
                  </a:lnTo>
                  <a:lnTo>
                    <a:pt x="1663" y="1160"/>
                  </a:lnTo>
                  <a:lnTo>
                    <a:pt x="1842" y="2208"/>
                  </a:lnTo>
                  <a:lnTo>
                    <a:pt x="1422" y="2208"/>
                  </a:lnTo>
                  <a:lnTo>
                    <a:pt x="1449" y="2260"/>
                  </a:lnTo>
                  <a:lnTo>
                    <a:pt x="1850" y="2260"/>
                  </a:lnTo>
                  <a:lnTo>
                    <a:pt x="1850" y="2321"/>
                  </a:lnTo>
                  <a:lnTo>
                    <a:pt x="1733" y="2321"/>
                  </a:lnTo>
                  <a:lnTo>
                    <a:pt x="1422" y="2321"/>
                  </a:lnTo>
                  <a:lnTo>
                    <a:pt x="1340" y="2163"/>
                  </a:lnTo>
                  <a:lnTo>
                    <a:pt x="1333" y="2154"/>
                  </a:lnTo>
                  <a:lnTo>
                    <a:pt x="1328" y="2144"/>
                  </a:lnTo>
                  <a:lnTo>
                    <a:pt x="1322" y="2137"/>
                  </a:lnTo>
                  <a:lnTo>
                    <a:pt x="1315" y="2130"/>
                  </a:lnTo>
                  <a:lnTo>
                    <a:pt x="1301" y="2118"/>
                  </a:lnTo>
                  <a:lnTo>
                    <a:pt x="1287" y="2111"/>
                  </a:lnTo>
                  <a:lnTo>
                    <a:pt x="1272" y="2105"/>
                  </a:lnTo>
                  <a:lnTo>
                    <a:pt x="1258" y="2103"/>
                  </a:lnTo>
                  <a:lnTo>
                    <a:pt x="1244" y="2102"/>
                  </a:lnTo>
                  <a:lnTo>
                    <a:pt x="1229" y="2104"/>
                  </a:lnTo>
                  <a:lnTo>
                    <a:pt x="1215" y="2107"/>
                  </a:lnTo>
                  <a:lnTo>
                    <a:pt x="1203" y="2111"/>
                  </a:lnTo>
                  <a:lnTo>
                    <a:pt x="1192" y="2116"/>
                  </a:lnTo>
                  <a:lnTo>
                    <a:pt x="1183" y="2122"/>
                  </a:lnTo>
                  <a:lnTo>
                    <a:pt x="1174" y="2129"/>
                  </a:lnTo>
                  <a:lnTo>
                    <a:pt x="1168" y="2135"/>
                  </a:lnTo>
                  <a:lnTo>
                    <a:pt x="1165" y="2141"/>
                  </a:lnTo>
                  <a:lnTo>
                    <a:pt x="1162" y="2147"/>
                  </a:lnTo>
                  <a:lnTo>
                    <a:pt x="1157" y="2387"/>
                  </a:lnTo>
                  <a:lnTo>
                    <a:pt x="1157" y="2402"/>
                  </a:lnTo>
                  <a:lnTo>
                    <a:pt x="1159" y="2415"/>
                  </a:lnTo>
                  <a:lnTo>
                    <a:pt x="1162" y="2428"/>
                  </a:lnTo>
                  <a:lnTo>
                    <a:pt x="1166" y="2439"/>
                  </a:lnTo>
                  <a:lnTo>
                    <a:pt x="1171" y="2450"/>
                  </a:lnTo>
                  <a:lnTo>
                    <a:pt x="1176" y="2460"/>
                  </a:lnTo>
                  <a:lnTo>
                    <a:pt x="1184" y="2469"/>
                  </a:lnTo>
                  <a:lnTo>
                    <a:pt x="1192" y="2478"/>
                  </a:lnTo>
                  <a:lnTo>
                    <a:pt x="1200" y="2486"/>
                  </a:lnTo>
                  <a:lnTo>
                    <a:pt x="1210" y="2494"/>
                  </a:lnTo>
                  <a:lnTo>
                    <a:pt x="1220" y="2500"/>
                  </a:lnTo>
                  <a:lnTo>
                    <a:pt x="1231" y="2506"/>
                  </a:lnTo>
                  <a:lnTo>
                    <a:pt x="1242" y="2511"/>
                  </a:lnTo>
                  <a:lnTo>
                    <a:pt x="1254" y="2516"/>
                  </a:lnTo>
                  <a:lnTo>
                    <a:pt x="1279" y="2522"/>
                  </a:lnTo>
                  <a:lnTo>
                    <a:pt x="1305" y="2526"/>
                  </a:lnTo>
                  <a:lnTo>
                    <a:pt x="1332" y="2528"/>
                  </a:lnTo>
                  <a:lnTo>
                    <a:pt x="1359" y="2526"/>
                  </a:lnTo>
                  <a:lnTo>
                    <a:pt x="1385" y="2522"/>
                  </a:lnTo>
                  <a:lnTo>
                    <a:pt x="1411" y="2515"/>
                  </a:lnTo>
                  <a:lnTo>
                    <a:pt x="1437" y="2506"/>
                  </a:lnTo>
                  <a:lnTo>
                    <a:pt x="1459" y="2495"/>
                  </a:lnTo>
                  <a:lnTo>
                    <a:pt x="1471" y="2489"/>
                  </a:lnTo>
                  <a:lnTo>
                    <a:pt x="1480" y="2481"/>
                  </a:lnTo>
                  <a:lnTo>
                    <a:pt x="1620" y="2373"/>
                  </a:lnTo>
                  <a:lnTo>
                    <a:pt x="1705" y="2373"/>
                  </a:lnTo>
                  <a:lnTo>
                    <a:pt x="1512" y="2522"/>
                  </a:lnTo>
                  <a:lnTo>
                    <a:pt x="1498" y="2532"/>
                  </a:lnTo>
                  <a:lnTo>
                    <a:pt x="1483" y="2541"/>
                  </a:lnTo>
                  <a:lnTo>
                    <a:pt x="1464" y="2548"/>
                  </a:lnTo>
                  <a:lnTo>
                    <a:pt x="1446" y="2556"/>
                  </a:lnTo>
                  <a:lnTo>
                    <a:pt x="1345" y="4763"/>
                  </a:lnTo>
                  <a:lnTo>
                    <a:pt x="909" y="4763"/>
                  </a:lnTo>
                  <a:lnTo>
                    <a:pt x="909" y="2771"/>
                  </a:lnTo>
                  <a:lnTo>
                    <a:pt x="857" y="2771"/>
                  </a:lnTo>
                  <a:lnTo>
                    <a:pt x="857" y="4763"/>
                  </a:lnTo>
                  <a:lnTo>
                    <a:pt x="421" y="4763"/>
                  </a:lnTo>
                  <a:lnTo>
                    <a:pt x="352" y="3267"/>
                  </a:lnTo>
                  <a:close/>
                  <a:moveTo>
                    <a:pt x="1106" y="2321"/>
                  </a:moveTo>
                  <a:lnTo>
                    <a:pt x="645" y="2321"/>
                  </a:lnTo>
                  <a:lnTo>
                    <a:pt x="645" y="2372"/>
                  </a:lnTo>
                  <a:lnTo>
                    <a:pt x="1105" y="2372"/>
                  </a:lnTo>
                  <a:lnTo>
                    <a:pt x="1106" y="2321"/>
                  </a:lnTo>
                  <a:close/>
                  <a:moveTo>
                    <a:pt x="1109" y="2208"/>
                  </a:moveTo>
                  <a:lnTo>
                    <a:pt x="645" y="2208"/>
                  </a:lnTo>
                  <a:lnTo>
                    <a:pt x="645" y="2260"/>
                  </a:lnTo>
                  <a:lnTo>
                    <a:pt x="1107" y="2260"/>
                  </a:lnTo>
                  <a:lnTo>
                    <a:pt x="1109" y="2208"/>
                  </a:lnTo>
                  <a:close/>
                  <a:moveTo>
                    <a:pt x="1393" y="2152"/>
                  </a:moveTo>
                  <a:lnTo>
                    <a:pt x="1773" y="2152"/>
                  </a:lnTo>
                  <a:lnTo>
                    <a:pt x="1606" y="1820"/>
                  </a:lnTo>
                  <a:lnTo>
                    <a:pt x="660" y="1820"/>
                  </a:lnTo>
                  <a:lnTo>
                    <a:pt x="640" y="2152"/>
                  </a:lnTo>
                  <a:lnTo>
                    <a:pt x="1110" y="2152"/>
                  </a:lnTo>
                  <a:lnTo>
                    <a:pt x="1110" y="2146"/>
                  </a:lnTo>
                  <a:lnTo>
                    <a:pt x="1111" y="2134"/>
                  </a:lnTo>
                  <a:lnTo>
                    <a:pt x="1114" y="2124"/>
                  </a:lnTo>
                  <a:lnTo>
                    <a:pt x="1116" y="2115"/>
                  </a:lnTo>
                  <a:lnTo>
                    <a:pt x="1120" y="2105"/>
                  </a:lnTo>
                  <a:lnTo>
                    <a:pt x="1126" y="2096"/>
                  </a:lnTo>
                  <a:lnTo>
                    <a:pt x="1132" y="2089"/>
                  </a:lnTo>
                  <a:lnTo>
                    <a:pt x="1139" y="2082"/>
                  </a:lnTo>
                  <a:lnTo>
                    <a:pt x="1146" y="2076"/>
                  </a:lnTo>
                  <a:lnTo>
                    <a:pt x="1154" y="2070"/>
                  </a:lnTo>
                  <a:lnTo>
                    <a:pt x="1163" y="2065"/>
                  </a:lnTo>
                  <a:lnTo>
                    <a:pt x="1172" y="2061"/>
                  </a:lnTo>
                  <a:lnTo>
                    <a:pt x="1183" y="2059"/>
                  </a:lnTo>
                  <a:lnTo>
                    <a:pt x="1203" y="2054"/>
                  </a:lnTo>
                  <a:lnTo>
                    <a:pt x="1226" y="2052"/>
                  </a:lnTo>
                  <a:lnTo>
                    <a:pt x="1249" y="2054"/>
                  </a:lnTo>
                  <a:lnTo>
                    <a:pt x="1271" y="2057"/>
                  </a:lnTo>
                  <a:lnTo>
                    <a:pt x="1294" y="2064"/>
                  </a:lnTo>
                  <a:lnTo>
                    <a:pt x="1316" y="2073"/>
                  </a:lnTo>
                  <a:lnTo>
                    <a:pt x="1327" y="2078"/>
                  </a:lnTo>
                  <a:lnTo>
                    <a:pt x="1337" y="2085"/>
                  </a:lnTo>
                  <a:lnTo>
                    <a:pt x="1346" y="2092"/>
                  </a:lnTo>
                  <a:lnTo>
                    <a:pt x="1355" y="2100"/>
                  </a:lnTo>
                  <a:lnTo>
                    <a:pt x="1364" y="2108"/>
                  </a:lnTo>
                  <a:lnTo>
                    <a:pt x="1372" y="2117"/>
                  </a:lnTo>
                  <a:lnTo>
                    <a:pt x="1379" y="2128"/>
                  </a:lnTo>
                  <a:lnTo>
                    <a:pt x="1385" y="2138"/>
                  </a:lnTo>
                  <a:lnTo>
                    <a:pt x="1393" y="2152"/>
                  </a:lnTo>
                  <a:close/>
                  <a:moveTo>
                    <a:pt x="1114" y="504"/>
                  </a:moveTo>
                  <a:lnTo>
                    <a:pt x="1114" y="504"/>
                  </a:lnTo>
                  <a:lnTo>
                    <a:pt x="1109" y="531"/>
                  </a:lnTo>
                  <a:lnTo>
                    <a:pt x="1102" y="557"/>
                  </a:lnTo>
                  <a:lnTo>
                    <a:pt x="1093" y="583"/>
                  </a:lnTo>
                  <a:lnTo>
                    <a:pt x="1081" y="607"/>
                  </a:lnTo>
                  <a:lnTo>
                    <a:pt x="1068" y="630"/>
                  </a:lnTo>
                  <a:lnTo>
                    <a:pt x="1054" y="651"/>
                  </a:lnTo>
                  <a:lnTo>
                    <a:pt x="1039" y="672"/>
                  </a:lnTo>
                  <a:lnTo>
                    <a:pt x="1022" y="690"/>
                  </a:lnTo>
                  <a:lnTo>
                    <a:pt x="1002" y="707"/>
                  </a:lnTo>
                  <a:lnTo>
                    <a:pt x="981" y="721"/>
                  </a:lnTo>
                  <a:lnTo>
                    <a:pt x="961" y="734"/>
                  </a:lnTo>
                  <a:lnTo>
                    <a:pt x="939" y="746"/>
                  </a:lnTo>
                  <a:lnTo>
                    <a:pt x="914" y="755"/>
                  </a:lnTo>
                  <a:lnTo>
                    <a:pt x="889" y="760"/>
                  </a:lnTo>
                  <a:lnTo>
                    <a:pt x="865" y="764"/>
                  </a:lnTo>
                  <a:lnTo>
                    <a:pt x="839" y="765"/>
                  </a:lnTo>
                  <a:lnTo>
                    <a:pt x="813" y="764"/>
                  </a:lnTo>
                  <a:lnTo>
                    <a:pt x="787" y="760"/>
                  </a:lnTo>
                  <a:lnTo>
                    <a:pt x="762" y="753"/>
                  </a:lnTo>
                  <a:lnTo>
                    <a:pt x="739" y="746"/>
                  </a:lnTo>
                  <a:lnTo>
                    <a:pt x="715" y="734"/>
                  </a:lnTo>
                  <a:lnTo>
                    <a:pt x="695" y="721"/>
                  </a:lnTo>
                  <a:lnTo>
                    <a:pt x="674" y="707"/>
                  </a:lnTo>
                  <a:lnTo>
                    <a:pt x="656" y="690"/>
                  </a:lnTo>
                  <a:lnTo>
                    <a:pt x="637" y="670"/>
                  </a:lnTo>
                  <a:lnTo>
                    <a:pt x="622" y="651"/>
                  </a:lnTo>
                  <a:lnTo>
                    <a:pt x="608" y="629"/>
                  </a:lnTo>
                  <a:lnTo>
                    <a:pt x="595" y="607"/>
                  </a:lnTo>
                  <a:lnTo>
                    <a:pt x="584" y="582"/>
                  </a:lnTo>
                  <a:lnTo>
                    <a:pt x="575" y="557"/>
                  </a:lnTo>
                  <a:lnTo>
                    <a:pt x="567" y="530"/>
                  </a:lnTo>
                  <a:lnTo>
                    <a:pt x="563" y="503"/>
                  </a:lnTo>
                  <a:lnTo>
                    <a:pt x="557" y="492"/>
                  </a:lnTo>
                  <a:lnTo>
                    <a:pt x="552" y="479"/>
                  </a:lnTo>
                  <a:lnTo>
                    <a:pt x="547" y="468"/>
                  </a:lnTo>
                  <a:lnTo>
                    <a:pt x="543" y="455"/>
                  </a:lnTo>
                  <a:lnTo>
                    <a:pt x="540" y="442"/>
                  </a:lnTo>
                  <a:lnTo>
                    <a:pt x="537" y="427"/>
                  </a:lnTo>
                  <a:lnTo>
                    <a:pt x="536" y="413"/>
                  </a:lnTo>
                  <a:lnTo>
                    <a:pt x="536" y="397"/>
                  </a:lnTo>
                  <a:lnTo>
                    <a:pt x="536" y="179"/>
                  </a:lnTo>
                  <a:lnTo>
                    <a:pt x="537" y="168"/>
                  </a:lnTo>
                  <a:lnTo>
                    <a:pt x="540" y="156"/>
                  </a:lnTo>
                  <a:lnTo>
                    <a:pt x="544" y="143"/>
                  </a:lnTo>
                  <a:lnTo>
                    <a:pt x="549" y="131"/>
                  </a:lnTo>
                  <a:lnTo>
                    <a:pt x="557" y="119"/>
                  </a:lnTo>
                  <a:lnTo>
                    <a:pt x="566" y="109"/>
                  </a:lnTo>
                  <a:lnTo>
                    <a:pt x="575" y="97"/>
                  </a:lnTo>
                  <a:lnTo>
                    <a:pt x="587" y="87"/>
                  </a:lnTo>
                  <a:lnTo>
                    <a:pt x="598" y="77"/>
                  </a:lnTo>
                  <a:lnTo>
                    <a:pt x="613" y="68"/>
                  </a:lnTo>
                  <a:lnTo>
                    <a:pt x="626" y="58"/>
                  </a:lnTo>
                  <a:lnTo>
                    <a:pt x="641" y="49"/>
                  </a:lnTo>
                  <a:lnTo>
                    <a:pt x="657" y="42"/>
                  </a:lnTo>
                  <a:lnTo>
                    <a:pt x="672" y="34"/>
                  </a:lnTo>
                  <a:lnTo>
                    <a:pt x="689" y="27"/>
                  </a:lnTo>
                  <a:lnTo>
                    <a:pt x="708" y="21"/>
                  </a:lnTo>
                  <a:lnTo>
                    <a:pt x="724" y="16"/>
                  </a:lnTo>
                  <a:lnTo>
                    <a:pt x="743" y="10"/>
                  </a:lnTo>
                  <a:lnTo>
                    <a:pt x="759" y="6"/>
                  </a:lnTo>
                  <a:lnTo>
                    <a:pt x="778" y="4"/>
                  </a:lnTo>
                  <a:lnTo>
                    <a:pt x="796" y="1"/>
                  </a:lnTo>
                  <a:lnTo>
                    <a:pt x="813" y="0"/>
                  </a:lnTo>
                  <a:lnTo>
                    <a:pt x="831" y="0"/>
                  </a:lnTo>
                  <a:lnTo>
                    <a:pt x="848" y="1"/>
                  </a:lnTo>
                  <a:lnTo>
                    <a:pt x="865" y="3"/>
                  </a:lnTo>
                  <a:lnTo>
                    <a:pt x="880" y="5"/>
                  </a:lnTo>
                  <a:lnTo>
                    <a:pt x="896" y="9"/>
                  </a:lnTo>
                  <a:lnTo>
                    <a:pt x="910" y="16"/>
                  </a:lnTo>
                  <a:lnTo>
                    <a:pt x="924" y="22"/>
                  </a:lnTo>
                  <a:lnTo>
                    <a:pt x="937" y="30"/>
                  </a:lnTo>
                  <a:lnTo>
                    <a:pt x="949" y="39"/>
                  </a:lnTo>
                  <a:lnTo>
                    <a:pt x="959" y="49"/>
                  </a:lnTo>
                  <a:lnTo>
                    <a:pt x="971" y="45"/>
                  </a:lnTo>
                  <a:lnTo>
                    <a:pt x="983" y="42"/>
                  </a:lnTo>
                  <a:lnTo>
                    <a:pt x="993" y="39"/>
                  </a:lnTo>
                  <a:lnTo>
                    <a:pt x="1004" y="38"/>
                  </a:lnTo>
                  <a:lnTo>
                    <a:pt x="1014" y="38"/>
                  </a:lnTo>
                  <a:lnTo>
                    <a:pt x="1023" y="38"/>
                  </a:lnTo>
                  <a:lnTo>
                    <a:pt x="1032" y="39"/>
                  </a:lnTo>
                  <a:lnTo>
                    <a:pt x="1041" y="40"/>
                  </a:lnTo>
                  <a:lnTo>
                    <a:pt x="1049" y="43"/>
                  </a:lnTo>
                  <a:lnTo>
                    <a:pt x="1057" y="47"/>
                  </a:lnTo>
                  <a:lnTo>
                    <a:pt x="1065" y="51"/>
                  </a:lnTo>
                  <a:lnTo>
                    <a:pt x="1072" y="55"/>
                  </a:lnTo>
                  <a:lnTo>
                    <a:pt x="1085" y="66"/>
                  </a:lnTo>
                  <a:lnTo>
                    <a:pt x="1097" y="81"/>
                  </a:lnTo>
                  <a:lnTo>
                    <a:pt x="1107" y="97"/>
                  </a:lnTo>
                  <a:lnTo>
                    <a:pt x="1116" y="116"/>
                  </a:lnTo>
                  <a:lnTo>
                    <a:pt x="1124" y="135"/>
                  </a:lnTo>
                  <a:lnTo>
                    <a:pt x="1131" y="157"/>
                  </a:lnTo>
                  <a:lnTo>
                    <a:pt x="1135" y="181"/>
                  </a:lnTo>
                  <a:lnTo>
                    <a:pt x="1139" y="205"/>
                  </a:lnTo>
                  <a:lnTo>
                    <a:pt x="1140" y="230"/>
                  </a:lnTo>
                  <a:lnTo>
                    <a:pt x="1141" y="257"/>
                  </a:lnTo>
                  <a:lnTo>
                    <a:pt x="1141" y="397"/>
                  </a:lnTo>
                  <a:lnTo>
                    <a:pt x="1140" y="413"/>
                  </a:lnTo>
                  <a:lnTo>
                    <a:pt x="1139" y="427"/>
                  </a:lnTo>
                  <a:lnTo>
                    <a:pt x="1137" y="442"/>
                  </a:lnTo>
                  <a:lnTo>
                    <a:pt x="1133" y="455"/>
                  </a:lnTo>
                  <a:lnTo>
                    <a:pt x="1129" y="468"/>
                  </a:lnTo>
                  <a:lnTo>
                    <a:pt x="1126" y="481"/>
                  </a:lnTo>
                  <a:lnTo>
                    <a:pt x="1120" y="492"/>
                  </a:lnTo>
                  <a:lnTo>
                    <a:pt x="1114" y="504"/>
                  </a:lnTo>
                  <a:close/>
                  <a:moveTo>
                    <a:pt x="619" y="313"/>
                  </a:moveTo>
                  <a:lnTo>
                    <a:pt x="619" y="313"/>
                  </a:lnTo>
                  <a:lnTo>
                    <a:pt x="615" y="329"/>
                  </a:lnTo>
                  <a:lnTo>
                    <a:pt x="613" y="346"/>
                  </a:lnTo>
                  <a:lnTo>
                    <a:pt x="611" y="362"/>
                  </a:lnTo>
                  <a:lnTo>
                    <a:pt x="611" y="379"/>
                  </a:lnTo>
                  <a:lnTo>
                    <a:pt x="611" y="455"/>
                  </a:lnTo>
                  <a:lnTo>
                    <a:pt x="611" y="471"/>
                  </a:lnTo>
                  <a:lnTo>
                    <a:pt x="613" y="488"/>
                  </a:lnTo>
                  <a:lnTo>
                    <a:pt x="615" y="505"/>
                  </a:lnTo>
                  <a:lnTo>
                    <a:pt x="619" y="522"/>
                  </a:lnTo>
                  <a:lnTo>
                    <a:pt x="623" y="538"/>
                  </a:lnTo>
                  <a:lnTo>
                    <a:pt x="628" y="553"/>
                  </a:lnTo>
                  <a:lnTo>
                    <a:pt x="635" y="569"/>
                  </a:lnTo>
                  <a:lnTo>
                    <a:pt x="641" y="583"/>
                  </a:lnTo>
                  <a:lnTo>
                    <a:pt x="649" y="597"/>
                  </a:lnTo>
                  <a:lnTo>
                    <a:pt x="657" y="610"/>
                  </a:lnTo>
                  <a:lnTo>
                    <a:pt x="667" y="625"/>
                  </a:lnTo>
                  <a:lnTo>
                    <a:pt x="676" y="636"/>
                  </a:lnTo>
                  <a:lnTo>
                    <a:pt x="688" y="648"/>
                  </a:lnTo>
                  <a:lnTo>
                    <a:pt x="698" y="659"/>
                  </a:lnTo>
                  <a:lnTo>
                    <a:pt x="711" y="669"/>
                  </a:lnTo>
                  <a:lnTo>
                    <a:pt x="723" y="678"/>
                  </a:lnTo>
                  <a:lnTo>
                    <a:pt x="736" y="686"/>
                  </a:lnTo>
                  <a:lnTo>
                    <a:pt x="750" y="694"/>
                  </a:lnTo>
                  <a:lnTo>
                    <a:pt x="763" y="699"/>
                  </a:lnTo>
                  <a:lnTo>
                    <a:pt x="778" y="704"/>
                  </a:lnTo>
                  <a:lnTo>
                    <a:pt x="793" y="708"/>
                  </a:lnTo>
                  <a:lnTo>
                    <a:pt x="808" y="712"/>
                  </a:lnTo>
                  <a:lnTo>
                    <a:pt x="823" y="713"/>
                  </a:lnTo>
                  <a:lnTo>
                    <a:pt x="839" y="713"/>
                  </a:lnTo>
                  <a:lnTo>
                    <a:pt x="854" y="713"/>
                  </a:lnTo>
                  <a:lnTo>
                    <a:pt x="869" y="712"/>
                  </a:lnTo>
                  <a:lnTo>
                    <a:pt x="884" y="708"/>
                  </a:lnTo>
                  <a:lnTo>
                    <a:pt x="898" y="704"/>
                  </a:lnTo>
                  <a:lnTo>
                    <a:pt x="913" y="699"/>
                  </a:lnTo>
                  <a:lnTo>
                    <a:pt x="927" y="694"/>
                  </a:lnTo>
                  <a:lnTo>
                    <a:pt x="940" y="686"/>
                  </a:lnTo>
                  <a:lnTo>
                    <a:pt x="953" y="678"/>
                  </a:lnTo>
                  <a:lnTo>
                    <a:pt x="966" y="669"/>
                  </a:lnTo>
                  <a:lnTo>
                    <a:pt x="978" y="660"/>
                  </a:lnTo>
                  <a:lnTo>
                    <a:pt x="988" y="648"/>
                  </a:lnTo>
                  <a:lnTo>
                    <a:pt x="1000" y="638"/>
                  </a:lnTo>
                  <a:lnTo>
                    <a:pt x="1009" y="625"/>
                  </a:lnTo>
                  <a:lnTo>
                    <a:pt x="1019" y="612"/>
                  </a:lnTo>
                  <a:lnTo>
                    <a:pt x="1027" y="599"/>
                  </a:lnTo>
                  <a:lnTo>
                    <a:pt x="1035" y="584"/>
                  </a:lnTo>
                  <a:lnTo>
                    <a:pt x="1042" y="569"/>
                  </a:lnTo>
                  <a:lnTo>
                    <a:pt x="1048" y="555"/>
                  </a:lnTo>
                  <a:lnTo>
                    <a:pt x="1053" y="539"/>
                  </a:lnTo>
                  <a:lnTo>
                    <a:pt x="1058" y="523"/>
                  </a:lnTo>
                  <a:lnTo>
                    <a:pt x="1061" y="507"/>
                  </a:lnTo>
                  <a:lnTo>
                    <a:pt x="1063" y="490"/>
                  </a:lnTo>
                  <a:lnTo>
                    <a:pt x="1065" y="471"/>
                  </a:lnTo>
                  <a:lnTo>
                    <a:pt x="1066" y="455"/>
                  </a:lnTo>
                  <a:lnTo>
                    <a:pt x="1066" y="379"/>
                  </a:lnTo>
                  <a:lnTo>
                    <a:pt x="1065" y="349"/>
                  </a:lnTo>
                  <a:lnTo>
                    <a:pt x="1059" y="320"/>
                  </a:lnTo>
                  <a:lnTo>
                    <a:pt x="1053" y="292"/>
                  </a:lnTo>
                  <a:lnTo>
                    <a:pt x="1042" y="266"/>
                  </a:lnTo>
                  <a:lnTo>
                    <a:pt x="1031" y="242"/>
                  </a:lnTo>
                  <a:lnTo>
                    <a:pt x="1017" y="218"/>
                  </a:lnTo>
                  <a:lnTo>
                    <a:pt x="1001" y="197"/>
                  </a:lnTo>
                  <a:lnTo>
                    <a:pt x="983" y="179"/>
                  </a:lnTo>
                  <a:lnTo>
                    <a:pt x="940" y="200"/>
                  </a:lnTo>
                  <a:lnTo>
                    <a:pt x="896" y="221"/>
                  </a:lnTo>
                  <a:lnTo>
                    <a:pt x="850" y="239"/>
                  </a:lnTo>
                  <a:lnTo>
                    <a:pt x="806" y="256"/>
                  </a:lnTo>
                  <a:lnTo>
                    <a:pt x="759" y="273"/>
                  </a:lnTo>
                  <a:lnTo>
                    <a:pt x="714" y="287"/>
                  </a:lnTo>
                  <a:lnTo>
                    <a:pt x="666" y="300"/>
                  </a:lnTo>
                  <a:lnTo>
                    <a:pt x="619" y="31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33" name="TextBox 7"/>
            <p:cNvSpPr txBox="1">
              <a:spLocks noChangeArrowheads="1"/>
            </p:cNvSpPr>
            <p:nvPr/>
          </p:nvSpPr>
          <p:spPr bwMode="auto">
            <a:xfrm>
              <a:off x="8327718" y="2681556"/>
              <a:ext cx="653833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dirty="0">
                  <a:solidFill>
                    <a:srgbClr val="808080"/>
                  </a:solidFill>
                  <a:latin typeface="+mn-lt"/>
                </a:rPr>
                <a:t>Дебитор</a:t>
              </a:r>
            </a:p>
          </p:txBody>
        </p:sp>
        <p:sp>
          <p:nvSpPr>
            <p:cNvPr id="34" name="Freeform 92"/>
            <p:cNvSpPr>
              <a:spLocks noChangeAspect="1" noEditPoints="1"/>
            </p:cNvSpPr>
            <p:nvPr/>
          </p:nvSpPr>
          <p:spPr bwMode="auto">
            <a:xfrm>
              <a:off x="3206429" y="1774494"/>
              <a:ext cx="647247" cy="763047"/>
            </a:xfrm>
            <a:custGeom>
              <a:avLst/>
              <a:gdLst>
                <a:gd name="T0" fmla="*/ 2147483647 w 3994"/>
                <a:gd name="T1" fmla="*/ 2147483647 h 4711"/>
                <a:gd name="T2" fmla="*/ 2147483647 w 3994"/>
                <a:gd name="T3" fmla="*/ 2147483647 h 4711"/>
                <a:gd name="T4" fmla="*/ 2147483647 w 3994"/>
                <a:gd name="T5" fmla="*/ 2147483647 h 4711"/>
                <a:gd name="T6" fmla="*/ 2147483647 w 3994"/>
                <a:gd name="T7" fmla="*/ 2147483647 h 4711"/>
                <a:gd name="T8" fmla="*/ 2147483647 w 3994"/>
                <a:gd name="T9" fmla="*/ 2147483647 h 4711"/>
                <a:gd name="T10" fmla="*/ 2147483647 w 3994"/>
                <a:gd name="T11" fmla="*/ 2147483647 h 4711"/>
                <a:gd name="T12" fmla="*/ 2147483647 w 3994"/>
                <a:gd name="T13" fmla="*/ 2147483647 h 4711"/>
                <a:gd name="T14" fmla="*/ 2147483647 w 3994"/>
                <a:gd name="T15" fmla="*/ 2147483647 h 4711"/>
                <a:gd name="T16" fmla="*/ 2147483647 w 3994"/>
                <a:gd name="T17" fmla="*/ 2147483647 h 4711"/>
                <a:gd name="T18" fmla="*/ 2147483647 w 3994"/>
                <a:gd name="T19" fmla="*/ 2147483647 h 4711"/>
                <a:gd name="T20" fmla="*/ 2147483647 w 3994"/>
                <a:gd name="T21" fmla="*/ 2147483647 h 4711"/>
                <a:gd name="T22" fmla="*/ 2147483647 w 3994"/>
                <a:gd name="T23" fmla="*/ 2147483647 h 4711"/>
                <a:gd name="T24" fmla="*/ 2147483647 w 3994"/>
                <a:gd name="T25" fmla="*/ 2147483647 h 4711"/>
                <a:gd name="T26" fmla="*/ 2147483647 w 3994"/>
                <a:gd name="T27" fmla="*/ 2147483647 h 4711"/>
                <a:gd name="T28" fmla="*/ 2147483647 w 3994"/>
                <a:gd name="T29" fmla="*/ 2147483647 h 4711"/>
                <a:gd name="T30" fmla="*/ 2147483647 w 3994"/>
                <a:gd name="T31" fmla="*/ 2147483647 h 4711"/>
                <a:gd name="T32" fmla="*/ 2147483647 w 3994"/>
                <a:gd name="T33" fmla="*/ 2147483647 h 4711"/>
                <a:gd name="T34" fmla="*/ 2147483647 w 3994"/>
                <a:gd name="T35" fmla="*/ 2147483647 h 4711"/>
                <a:gd name="T36" fmla="*/ 2147483647 w 3994"/>
                <a:gd name="T37" fmla="*/ 2147483647 h 4711"/>
                <a:gd name="T38" fmla="*/ 2147483647 w 3994"/>
                <a:gd name="T39" fmla="*/ 2147483647 h 4711"/>
                <a:gd name="T40" fmla="*/ 2147483647 w 3994"/>
                <a:gd name="T41" fmla="*/ 2147483647 h 4711"/>
                <a:gd name="T42" fmla="*/ 2147483647 w 3994"/>
                <a:gd name="T43" fmla="*/ 2147483647 h 4711"/>
                <a:gd name="T44" fmla="*/ 2147483647 w 3994"/>
                <a:gd name="T45" fmla="*/ 2147483647 h 4711"/>
                <a:gd name="T46" fmla="*/ 2147483647 w 3994"/>
                <a:gd name="T47" fmla="*/ 2147483647 h 4711"/>
                <a:gd name="T48" fmla="*/ 2147483647 w 3994"/>
                <a:gd name="T49" fmla="*/ 2147483647 h 4711"/>
                <a:gd name="T50" fmla="*/ 2147483647 w 3994"/>
                <a:gd name="T51" fmla="*/ 2147483647 h 4711"/>
                <a:gd name="T52" fmla="*/ 2147483647 w 3994"/>
                <a:gd name="T53" fmla="*/ 2147483647 h 4711"/>
                <a:gd name="T54" fmla="*/ 2147483647 w 3994"/>
                <a:gd name="T55" fmla="*/ 2147483647 h 4711"/>
                <a:gd name="T56" fmla="*/ 2147483647 w 3994"/>
                <a:gd name="T57" fmla="*/ 2147483647 h 4711"/>
                <a:gd name="T58" fmla="*/ 2147483647 w 3994"/>
                <a:gd name="T59" fmla="*/ 2147483647 h 4711"/>
                <a:gd name="T60" fmla="*/ 2147483647 w 3994"/>
                <a:gd name="T61" fmla="*/ 2147483647 h 4711"/>
                <a:gd name="T62" fmla="*/ 2147483647 w 3994"/>
                <a:gd name="T63" fmla="*/ 2147483647 h 4711"/>
                <a:gd name="T64" fmla="*/ 2147483647 w 3994"/>
                <a:gd name="T65" fmla="*/ 2147483647 h 4711"/>
                <a:gd name="T66" fmla="*/ 2147483647 w 3994"/>
                <a:gd name="T67" fmla="*/ 2147483647 h 4711"/>
                <a:gd name="T68" fmla="*/ 2147483647 w 3994"/>
                <a:gd name="T69" fmla="*/ 2147483647 h 4711"/>
                <a:gd name="T70" fmla="*/ 2147483647 w 3994"/>
                <a:gd name="T71" fmla="*/ 2147483647 h 4711"/>
                <a:gd name="T72" fmla="*/ 2147483647 w 3994"/>
                <a:gd name="T73" fmla="*/ 2147483647 h 4711"/>
                <a:gd name="T74" fmla="*/ 2147483647 w 3994"/>
                <a:gd name="T75" fmla="*/ 2147483647 h 4711"/>
                <a:gd name="T76" fmla="*/ 2147483647 w 3994"/>
                <a:gd name="T77" fmla="*/ 2147483647 h 4711"/>
                <a:gd name="T78" fmla="*/ 2147483647 w 3994"/>
                <a:gd name="T79" fmla="*/ 2147483647 h 4711"/>
                <a:gd name="T80" fmla="*/ 2147483647 w 3994"/>
                <a:gd name="T81" fmla="*/ 2147483647 h 4711"/>
                <a:gd name="T82" fmla="*/ 2147483647 w 3994"/>
                <a:gd name="T83" fmla="*/ 2147483647 h 4711"/>
                <a:gd name="T84" fmla="*/ 2147483647 w 3994"/>
                <a:gd name="T85" fmla="*/ 2147483647 h 4711"/>
                <a:gd name="T86" fmla="*/ 2147483647 w 3994"/>
                <a:gd name="T87" fmla="*/ 2147483647 h 4711"/>
                <a:gd name="T88" fmla="*/ 2147483647 w 3994"/>
                <a:gd name="T89" fmla="*/ 2147483647 h 4711"/>
                <a:gd name="T90" fmla="*/ 2147483647 w 3994"/>
                <a:gd name="T91" fmla="*/ 2147483647 h 4711"/>
                <a:gd name="T92" fmla="*/ 2147483647 w 3994"/>
                <a:gd name="T93" fmla="*/ 2147483647 h 4711"/>
                <a:gd name="T94" fmla="*/ 2147483647 w 3994"/>
                <a:gd name="T95" fmla="*/ 2147483647 h 4711"/>
                <a:gd name="T96" fmla="*/ 2147483647 w 3994"/>
                <a:gd name="T97" fmla="*/ 2147483647 h 4711"/>
                <a:gd name="T98" fmla="*/ 2147483647 w 3994"/>
                <a:gd name="T99" fmla="*/ 2147483647 h 4711"/>
                <a:gd name="T100" fmla="*/ 2147483647 w 3994"/>
                <a:gd name="T101" fmla="*/ 2147483647 h 4711"/>
                <a:gd name="T102" fmla="*/ 2147483647 w 3994"/>
                <a:gd name="T103" fmla="*/ 2147483647 h 4711"/>
                <a:gd name="T104" fmla="*/ 2147483647 w 3994"/>
                <a:gd name="T105" fmla="*/ 2147483647 h 4711"/>
                <a:gd name="T106" fmla="*/ 2147483647 w 3994"/>
                <a:gd name="T107" fmla="*/ 2147483647 h 4711"/>
                <a:gd name="T108" fmla="*/ 2147483647 w 3994"/>
                <a:gd name="T109" fmla="*/ 2147483647 h 4711"/>
                <a:gd name="T110" fmla="*/ 2147483647 w 3994"/>
                <a:gd name="T111" fmla="*/ 2147483647 h 4711"/>
                <a:gd name="T112" fmla="*/ 2147483647 w 3994"/>
                <a:gd name="T113" fmla="*/ 2147483647 h 4711"/>
                <a:gd name="T114" fmla="*/ 2147483647 w 3994"/>
                <a:gd name="T115" fmla="*/ 2147483647 h 4711"/>
                <a:gd name="T116" fmla="*/ 2147483647 w 3994"/>
                <a:gd name="T117" fmla="*/ 2147483647 h 4711"/>
                <a:gd name="T118" fmla="*/ 2147483647 w 3994"/>
                <a:gd name="T119" fmla="*/ 2147483647 h 4711"/>
                <a:gd name="T120" fmla="*/ 2147483647 w 3994"/>
                <a:gd name="T121" fmla="*/ 2147483647 h 4711"/>
                <a:gd name="T122" fmla="*/ 2147483647 w 3994"/>
                <a:gd name="T123" fmla="*/ 2147483647 h 4711"/>
                <a:gd name="T124" fmla="*/ 2147483647 w 3994"/>
                <a:gd name="T125" fmla="*/ 2147483647 h 471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94"/>
                <a:gd name="T190" fmla="*/ 0 h 4711"/>
                <a:gd name="T191" fmla="*/ 3994 w 3994"/>
                <a:gd name="T192" fmla="*/ 4711 h 471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94" h="4711">
                  <a:moveTo>
                    <a:pt x="1052" y="492"/>
                  </a:moveTo>
                  <a:lnTo>
                    <a:pt x="1052" y="563"/>
                  </a:lnTo>
                  <a:lnTo>
                    <a:pt x="1050" y="588"/>
                  </a:lnTo>
                  <a:lnTo>
                    <a:pt x="1048" y="613"/>
                  </a:lnTo>
                  <a:lnTo>
                    <a:pt x="1042" y="638"/>
                  </a:lnTo>
                  <a:lnTo>
                    <a:pt x="1035" y="660"/>
                  </a:lnTo>
                  <a:lnTo>
                    <a:pt x="1026" y="682"/>
                  </a:lnTo>
                  <a:lnTo>
                    <a:pt x="1015" y="701"/>
                  </a:lnTo>
                  <a:lnTo>
                    <a:pt x="1002" y="720"/>
                  </a:lnTo>
                  <a:lnTo>
                    <a:pt x="989" y="738"/>
                  </a:lnTo>
                  <a:lnTo>
                    <a:pt x="973" y="753"/>
                  </a:lnTo>
                  <a:lnTo>
                    <a:pt x="957" y="767"/>
                  </a:lnTo>
                  <a:lnTo>
                    <a:pt x="939" y="779"/>
                  </a:lnTo>
                  <a:lnTo>
                    <a:pt x="920" y="789"/>
                  </a:lnTo>
                  <a:lnTo>
                    <a:pt x="900" y="797"/>
                  </a:lnTo>
                  <a:lnTo>
                    <a:pt x="880" y="804"/>
                  </a:lnTo>
                  <a:lnTo>
                    <a:pt x="859" y="807"/>
                  </a:lnTo>
                  <a:lnTo>
                    <a:pt x="837" y="808"/>
                  </a:lnTo>
                  <a:lnTo>
                    <a:pt x="816" y="807"/>
                  </a:lnTo>
                  <a:lnTo>
                    <a:pt x="796" y="804"/>
                  </a:lnTo>
                  <a:lnTo>
                    <a:pt x="775" y="797"/>
                  </a:lnTo>
                  <a:lnTo>
                    <a:pt x="754" y="789"/>
                  </a:lnTo>
                  <a:lnTo>
                    <a:pt x="737" y="779"/>
                  </a:lnTo>
                  <a:lnTo>
                    <a:pt x="719" y="767"/>
                  </a:lnTo>
                  <a:lnTo>
                    <a:pt x="702" y="753"/>
                  </a:lnTo>
                  <a:lnTo>
                    <a:pt x="687" y="738"/>
                  </a:lnTo>
                  <a:lnTo>
                    <a:pt x="672" y="720"/>
                  </a:lnTo>
                  <a:lnTo>
                    <a:pt x="659" y="701"/>
                  </a:lnTo>
                  <a:lnTo>
                    <a:pt x="648" y="682"/>
                  </a:lnTo>
                  <a:lnTo>
                    <a:pt x="640" y="660"/>
                  </a:lnTo>
                  <a:lnTo>
                    <a:pt x="632" y="638"/>
                  </a:lnTo>
                  <a:lnTo>
                    <a:pt x="628" y="613"/>
                  </a:lnTo>
                  <a:lnTo>
                    <a:pt x="624" y="588"/>
                  </a:lnTo>
                  <a:lnTo>
                    <a:pt x="622" y="563"/>
                  </a:lnTo>
                  <a:lnTo>
                    <a:pt x="624" y="449"/>
                  </a:lnTo>
                  <a:lnTo>
                    <a:pt x="646" y="454"/>
                  </a:lnTo>
                  <a:lnTo>
                    <a:pt x="670" y="459"/>
                  </a:lnTo>
                  <a:lnTo>
                    <a:pt x="694" y="460"/>
                  </a:lnTo>
                  <a:lnTo>
                    <a:pt x="719" y="461"/>
                  </a:lnTo>
                  <a:lnTo>
                    <a:pt x="738" y="461"/>
                  </a:lnTo>
                  <a:lnTo>
                    <a:pt x="756" y="459"/>
                  </a:lnTo>
                  <a:lnTo>
                    <a:pt x="775" y="457"/>
                  </a:lnTo>
                  <a:lnTo>
                    <a:pt x="793" y="453"/>
                  </a:lnTo>
                  <a:lnTo>
                    <a:pt x="811" y="449"/>
                  </a:lnTo>
                  <a:lnTo>
                    <a:pt x="829" y="443"/>
                  </a:lnTo>
                  <a:lnTo>
                    <a:pt x="847" y="438"/>
                  </a:lnTo>
                  <a:lnTo>
                    <a:pt x="863" y="431"/>
                  </a:lnTo>
                  <a:lnTo>
                    <a:pt x="880" y="423"/>
                  </a:lnTo>
                  <a:lnTo>
                    <a:pt x="896" y="414"/>
                  </a:lnTo>
                  <a:lnTo>
                    <a:pt x="911" y="405"/>
                  </a:lnTo>
                  <a:lnTo>
                    <a:pt x="927" y="395"/>
                  </a:lnTo>
                  <a:lnTo>
                    <a:pt x="940" y="384"/>
                  </a:lnTo>
                  <a:lnTo>
                    <a:pt x="954" y="373"/>
                  </a:lnTo>
                  <a:lnTo>
                    <a:pt x="968" y="361"/>
                  </a:lnTo>
                  <a:lnTo>
                    <a:pt x="980" y="348"/>
                  </a:lnTo>
                  <a:lnTo>
                    <a:pt x="990" y="354"/>
                  </a:lnTo>
                  <a:lnTo>
                    <a:pt x="1001" y="361"/>
                  </a:lnTo>
                  <a:lnTo>
                    <a:pt x="1013" y="370"/>
                  </a:lnTo>
                  <a:lnTo>
                    <a:pt x="1019" y="376"/>
                  </a:lnTo>
                  <a:lnTo>
                    <a:pt x="1024" y="383"/>
                  </a:lnTo>
                  <a:lnTo>
                    <a:pt x="1030" y="391"/>
                  </a:lnTo>
                  <a:lnTo>
                    <a:pt x="1035" y="401"/>
                  </a:lnTo>
                  <a:lnTo>
                    <a:pt x="1039" y="412"/>
                  </a:lnTo>
                  <a:lnTo>
                    <a:pt x="1044" y="424"/>
                  </a:lnTo>
                  <a:lnTo>
                    <a:pt x="1048" y="438"/>
                  </a:lnTo>
                  <a:lnTo>
                    <a:pt x="1050" y="454"/>
                  </a:lnTo>
                  <a:lnTo>
                    <a:pt x="1052" y="471"/>
                  </a:lnTo>
                  <a:lnTo>
                    <a:pt x="1052" y="492"/>
                  </a:lnTo>
                  <a:close/>
                  <a:moveTo>
                    <a:pt x="570" y="598"/>
                  </a:moveTo>
                  <a:lnTo>
                    <a:pt x="505" y="403"/>
                  </a:lnTo>
                  <a:lnTo>
                    <a:pt x="501" y="384"/>
                  </a:lnTo>
                  <a:lnTo>
                    <a:pt x="500" y="365"/>
                  </a:lnTo>
                  <a:lnTo>
                    <a:pt x="501" y="347"/>
                  </a:lnTo>
                  <a:lnTo>
                    <a:pt x="505" y="329"/>
                  </a:lnTo>
                  <a:lnTo>
                    <a:pt x="512" y="313"/>
                  </a:lnTo>
                  <a:lnTo>
                    <a:pt x="522" y="296"/>
                  </a:lnTo>
                  <a:lnTo>
                    <a:pt x="534" y="280"/>
                  </a:lnTo>
                  <a:lnTo>
                    <a:pt x="548" y="264"/>
                  </a:lnTo>
                  <a:lnTo>
                    <a:pt x="564" y="251"/>
                  </a:lnTo>
                  <a:lnTo>
                    <a:pt x="582" y="237"/>
                  </a:lnTo>
                  <a:lnTo>
                    <a:pt x="600" y="223"/>
                  </a:lnTo>
                  <a:lnTo>
                    <a:pt x="621" y="211"/>
                  </a:lnTo>
                  <a:lnTo>
                    <a:pt x="643" y="200"/>
                  </a:lnTo>
                  <a:lnTo>
                    <a:pt x="665" y="189"/>
                  </a:lnTo>
                  <a:lnTo>
                    <a:pt x="688" y="178"/>
                  </a:lnTo>
                  <a:lnTo>
                    <a:pt x="712" y="169"/>
                  </a:lnTo>
                  <a:lnTo>
                    <a:pt x="735" y="161"/>
                  </a:lnTo>
                  <a:lnTo>
                    <a:pt x="760" y="153"/>
                  </a:lnTo>
                  <a:lnTo>
                    <a:pt x="783" y="146"/>
                  </a:lnTo>
                  <a:lnTo>
                    <a:pt x="807" y="140"/>
                  </a:lnTo>
                  <a:lnTo>
                    <a:pt x="830" y="136"/>
                  </a:lnTo>
                  <a:lnTo>
                    <a:pt x="854" y="132"/>
                  </a:lnTo>
                  <a:lnTo>
                    <a:pt x="874" y="129"/>
                  </a:lnTo>
                  <a:lnTo>
                    <a:pt x="895" y="128"/>
                  </a:lnTo>
                  <a:lnTo>
                    <a:pt x="914" y="127"/>
                  </a:lnTo>
                  <a:lnTo>
                    <a:pt x="932" y="128"/>
                  </a:lnTo>
                  <a:lnTo>
                    <a:pt x="949" y="129"/>
                  </a:lnTo>
                  <a:lnTo>
                    <a:pt x="962" y="132"/>
                  </a:lnTo>
                  <a:lnTo>
                    <a:pt x="975" y="136"/>
                  </a:lnTo>
                  <a:lnTo>
                    <a:pt x="986" y="140"/>
                  </a:lnTo>
                  <a:lnTo>
                    <a:pt x="993" y="147"/>
                  </a:lnTo>
                  <a:lnTo>
                    <a:pt x="998" y="154"/>
                  </a:lnTo>
                  <a:lnTo>
                    <a:pt x="1013" y="187"/>
                  </a:lnTo>
                  <a:lnTo>
                    <a:pt x="1073" y="209"/>
                  </a:lnTo>
                  <a:lnTo>
                    <a:pt x="1082" y="215"/>
                  </a:lnTo>
                  <a:lnTo>
                    <a:pt x="1092" y="220"/>
                  </a:lnTo>
                  <a:lnTo>
                    <a:pt x="1100" y="227"/>
                  </a:lnTo>
                  <a:lnTo>
                    <a:pt x="1108" y="235"/>
                  </a:lnTo>
                  <a:lnTo>
                    <a:pt x="1117" y="245"/>
                  </a:lnTo>
                  <a:lnTo>
                    <a:pt x="1123" y="255"/>
                  </a:lnTo>
                  <a:lnTo>
                    <a:pt x="1129" y="267"/>
                  </a:lnTo>
                  <a:lnTo>
                    <a:pt x="1136" y="278"/>
                  </a:lnTo>
                  <a:lnTo>
                    <a:pt x="1140" y="292"/>
                  </a:lnTo>
                  <a:lnTo>
                    <a:pt x="1144" y="306"/>
                  </a:lnTo>
                  <a:lnTo>
                    <a:pt x="1147" y="319"/>
                  </a:lnTo>
                  <a:lnTo>
                    <a:pt x="1150" y="333"/>
                  </a:lnTo>
                  <a:lnTo>
                    <a:pt x="1150" y="348"/>
                  </a:lnTo>
                  <a:lnTo>
                    <a:pt x="1150" y="364"/>
                  </a:lnTo>
                  <a:lnTo>
                    <a:pt x="1148" y="379"/>
                  </a:lnTo>
                  <a:lnTo>
                    <a:pt x="1147" y="394"/>
                  </a:lnTo>
                  <a:lnTo>
                    <a:pt x="1107" y="587"/>
                  </a:lnTo>
                  <a:lnTo>
                    <a:pt x="1103" y="614"/>
                  </a:lnTo>
                  <a:lnTo>
                    <a:pt x="1097" y="642"/>
                  </a:lnTo>
                  <a:lnTo>
                    <a:pt x="1090" y="669"/>
                  </a:lnTo>
                  <a:lnTo>
                    <a:pt x="1081" y="694"/>
                  </a:lnTo>
                  <a:lnTo>
                    <a:pt x="1068" y="719"/>
                  </a:lnTo>
                  <a:lnTo>
                    <a:pt x="1055" y="741"/>
                  </a:lnTo>
                  <a:lnTo>
                    <a:pt x="1039" y="763"/>
                  </a:lnTo>
                  <a:lnTo>
                    <a:pt x="1022" y="782"/>
                  </a:lnTo>
                  <a:lnTo>
                    <a:pt x="1004" y="800"/>
                  </a:lnTo>
                  <a:lnTo>
                    <a:pt x="983" y="817"/>
                  </a:lnTo>
                  <a:lnTo>
                    <a:pt x="962" y="830"/>
                  </a:lnTo>
                  <a:lnTo>
                    <a:pt x="939" y="841"/>
                  </a:lnTo>
                  <a:lnTo>
                    <a:pt x="916" y="851"/>
                  </a:lnTo>
                  <a:lnTo>
                    <a:pt x="891" y="858"/>
                  </a:lnTo>
                  <a:lnTo>
                    <a:pt x="865" y="862"/>
                  </a:lnTo>
                  <a:lnTo>
                    <a:pt x="837" y="863"/>
                  </a:lnTo>
                  <a:lnTo>
                    <a:pt x="811" y="862"/>
                  </a:lnTo>
                  <a:lnTo>
                    <a:pt x="786" y="858"/>
                  </a:lnTo>
                  <a:lnTo>
                    <a:pt x="761" y="851"/>
                  </a:lnTo>
                  <a:lnTo>
                    <a:pt x="738" y="843"/>
                  </a:lnTo>
                  <a:lnTo>
                    <a:pt x="716" y="832"/>
                  </a:lnTo>
                  <a:lnTo>
                    <a:pt x="695" y="818"/>
                  </a:lnTo>
                  <a:lnTo>
                    <a:pt x="675" y="803"/>
                  </a:lnTo>
                  <a:lnTo>
                    <a:pt x="657" y="786"/>
                  </a:lnTo>
                  <a:lnTo>
                    <a:pt x="639" y="767"/>
                  </a:lnTo>
                  <a:lnTo>
                    <a:pt x="624" y="746"/>
                  </a:lnTo>
                  <a:lnTo>
                    <a:pt x="610" y="724"/>
                  </a:lnTo>
                  <a:lnTo>
                    <a:pt x="598" y="701"/>
                  </a:lnTo>
                  <a:lnTo>
                    <a:pt x="588" y="676"/>
                  </a:lnTo>
                  <a:lnTo>
                    <a:pt x="580" y="651"/>
                  </a:lnTo>
                  <a:lnTo>
                    <a:pt x="574" y="625"/>
                  </a:lnTo>
                  <a:lnTo>
                    <a:pt x="570" y="598"/>
                  </a:lnTo>
                  <a:close/>
                  <a:moveTo>
                    <a:pt x="2740" y="2532"/>
                  </a:moveTo>
                  <a:lnTo>
                    <a:pt x="2740" y="2532"/>
                  </a:lnTo>
                  <a:lnTo>
                    <a:pt x="2748" y="2534"/>
                  </a:lnTo>
                  <a:lnTo>
                    <a:pt x="2755" y="2535"/>
                  </a:lnTo>
                  <a:lnTo>
                    <a:pt x="2760" y="2539"/>
                  </a:lnTo>
                  <a:lnTo>
                    <a:pt x="2767" y="2543"/>
                  </a:lnTo>
                  <a:lnTo>
                    <a:pt x="2771" y="2549"/>
                  </a:lnTo>
                  <a:lnTo>
                    <a:pt x="2774" y="2556"/>
                  </a:lnTo>
                  <a:lnTo>
                    <a:pt x="2777" y="2563"/>
                  </a:lnTo>
                  <a:lnTo>
                    <a:pt x="2777" y="2571"/>
                  </a:lnTo>
                  <a:lnTo>
                    <a:pt x="2777" y="2578"/>
                  </a:lnTo>
                  <a:lnTo>
                    <a:pt x="2774" y="2585"/>
                  </a:lnTo>
                  <a:lnTo>
                    <a:pt x="2771" y="2591"/>
                  </a:lnTo>
                  <a:lnTo>
                    <a:pt x="2767" y="2597"/>
                  </a:lnTo>
                  <a:lnTo>
                    <a:pt x="2760" y="2601"/>
                  </a:lnTo>
                  <a:lnTo>
                    <a:pt x="2755" y="2605"/>
                  </a:lnTo>
                  <a:lnTo>
                    <a:pt x="2748" y="2607"/>
                  </a:lnTo>
                  <a:lnTo>
                    <a:pt x="2740" y="2608"/>
                  </a:lnTo>
                  <a:lnTo>
                    <a:pt x="2733" y="2607"/>
                  </a:lnTo>
                  <a:lnTo>
                    <a:pt x="2726" y="2605"/>
                  </a:lnTo>
                  <a:lnTo>
                    <a:pt x="2719" y="2601"/>
                  </a:lnTo>
                  <a:lnTo>
                    <a:pt x="2714" y="2597"/>
                  </a:lnTo>
                  <a:lnTo>
                    <a:pt x="2709" y="2591"/>
                  </a:lnTo>
                  <a:lnTo>
                    <a:pt x="2705" y="2585"/>
                  </a:lnTo>
                  <a:lnTo>
                    <a:pt x="2703" y="2578"/>
                  </a:lnTo>
                  <a:lnTo>
                    <a:pt x="2703" y="2571"/>
                  </a:lnTo>
                  <a:lnTo>
                    <a:pt x="2703" y="2563"/>
                  </a:lnTo>
                  <a:lnTo>
                    <a:pt x="2705" y="2556"/>
                  </a:lnTo>
                  <a:lnTo>
                    <a:pt x="2709" y="2549"/>
                  </a:lnTo>
                  <a:lnTo>
                    <a:pt x="2714" y="2543"/>
                  </a:lnTo>
                  <a:lnTo>
                    <a:pt x="2719" y="2539"/>
                  </a:lnTo>
                  <a:lnTo>
                    <a:pt x="2726" y="2535"/>
                  </a:lnTo>
                  <a:lnTo>
                    <a:pt x="2733" y="2534"/>
                  </a:lnTo>
                  <a:lnTo>
                    <a:pt x="2740" y="2532"/>
                  </a:lnTo>
                  <a:close/>
                  <a:moveTo>
                    <a:pt x="1256" y="2571"/>
                  </a:moveTo>
                  <a:lnTo>
                    <a:pt x="1256" y="2571"/>
                  </a:lnTo>
                  <a:lnTo>
                    <a:pt x="1256" y="2578"/>
                  </a:lnTo>
                  <a:lnTo>
                    <a:pt x="1258" y="2585"/>
                  </a:lnTo>
                  <a:lnTo>
                    <a:pt x="1261" y="2591"/>
                  </a:lnTo>
                  <a:lnTo>
                    <a:pt x="1267" y="2597"/>
                  </a:lnTo>
                  <a:lnTo>
                    <a:pt x="1272" y="2601"/>
                  </a:lnTo>
                  <a:lnTo>
                    <a:pt x="1278" y="2605"/>
                  </a:lnTo>
                  <a:lnTo>
                    <a:pt x="1285" y="2607"/>
                  </a:lnTo>
                  <a:lnTo>
                    <a:pt x="1293" y="2608"/>
                  </a:lnTo>
                  <a:lnTo>
                    <a:pt x="1300" y="2607"/>
                  </a:lnTo>
                  <a:lnTo>
                    <a:pt x="1308" y="2605"/>
                  </a:lnTo>
                  <a:lnTo>
                    <a:pt x="1313" y="2601"/>
                  </a:lnTo>
                  <a:lnTo>
                    <a:pt x="1319" y="2597"/>
                  </a:lnTo>
                  <a:lnTo>
                    <a:pt x="1324" y="2591"/>
                  </a:lnTo>
                  <a:lnTo>
                    <a:pt x="1327" y="2585"/>
                  </a:lnTo>
                  <a:lnTo>
                    <a:pt x="1330" y="2578"/>
                  </a:lnTo>
                  <a:lnTo>
                    <a:pt x="1330" y="2571"/>
                  </a:lnTo>
                  <a:lnTo>
                    <a:pt x="1330" y="2563"/>
                  </a:lnTo>
                  <a:lnTo>
                    <a:pt x="1327" y="2556"/>
                  </a:lnTo>
                  <a:lnTo>
                    <a:pt x="1324" y="2549"/>
                  </a:lnTo>
                  <a:lnTo>
                    <a:pt x="1319" y="2543"/>
                  </a:lnTo>
                  <a:lnTo>
                    <a:pt x="1313" y="2539"/>
                  </a:lnTo>
                  <a:lnTo>
                    <a:pt x="1308" y="2535"/>
                  </a:lnTo>
                  <a:lnTo>
                    <a:pt x="1300" y="2534"/>
                  </a:lnTo>
                  <a:lnTo>
                    <a:pt x="1293" y="2532"/>
                  </a:lnTo>
                  <a:lnTo>
                    <a:pt x="1285" y="2534"/>
                  </a:lnTo>
                  <a:lnTo>
                    <a:pt x="1278" y="2535"/>
                  </a:lnTo>
                  <a:lnTo>
                    <a:pt x="1272" y="2539"/>
                  </a:lnTo>
                  <a:lnTo>
                    <a:pt x="1267" y="2543"/>
                  </a:lnTo>
                  <a:lnTo>
                    <a:pt x="1261" y="2549"/>
                  </a:lnTo>
                  <a:lnTo>
                    <a:pt x="1258" y="2556"/>
                  </a:lnTo>
                  <a:lnTo>
                    <a:pt x="1256" y="2563"/>
                  </a:lnTo>
                  <a:lnTo>
                    <a:pt x="1256" y="2571"/>
                  </a:lnTo>
                  <a:close/>
                  <a:moveTo>
                    <a:pt x="1251" y="2704"/>
                  </a:moveTo>
                  <a:lnTo>
                    <a:pt x="1505" y="3027"/>
                  </a:lnTo>
                  <a:lnTo>
                    <a:pt x="1486" y="2704"/>
                  </a:lnTo>
                  <a:lnTo>
                    <a:pt x="1251" y="2704"/>
                  </a:lnTo>
                  <a:close/>
                  <a:moveTo>
                    <a:pt x="2785" y="2704"/>
                  </a:moveTo>
                  <a:lnTo>
                    <a:pt x="2546" y="2704"/>
                  </a:lnTo>
                  <a:lnTo>
                    <a:pt x="2526" y="3034"/>
                  </a:lnTo>
                  <a:lnTo>
                    <a:pt x="2785" y="2704"/>
                  </a:lnTo>
                  <a:close/>
                  <a:moveTo>
                    <a:pt x="3814" y="2411"/>
                  </a:moveTo>
                  <a:lnTo>
                    <a:pt x="3636" y="2411"/>
                  </a:lnTo>
                  <a:lnTo>
                    <a:pt x="3704" y="2710"/>
                  </a:lnTo>
                  <a:lnTo>
                    <a:pt x="3814" y="2412"/>
                  </a:lnTo>
                  <a:lnTo>
                    <a:pt x="3814" y="2411"/>
                  </a:lnTo>
                  <a:close/>
                  <a:moveTo>
                    <a:pt x="3072" y="1142"/>
                  </a:moveTo>
                  <a:lnTo>
                    <a:pt x="2858" y="1197"/>
                  </a:lnTo>
                  <a:lnTo>
                    <a:pt x="2858" y="2601"/>
                  </a:lnTo>
                  <a:lnTo>
                    <a:pt x="2939" y="2200"/>
                  </a:lnTo>
                  <a:lnTo>
                    <a:pt x="3552" y="2200"/>
                  </a:lnTo>
                  <a:lnTo>
                    <a:pt x="3552" y="1625"/>
                  </a:lnTo>
                  <a:lnTo>
                    <a:pt x="3581" y="1462"/>
                  </a:lnTo>
                  <a:lnTo>
                    <a:pt x="3635" y="1472"/>
                  </a:lnTo>
                  <a:lnTo>
                    <a:pt x="3607" y="1630"/>
                  </a:lnTo>
                  <a:lnTo>
                    <a:pt x="3607" y="2278"/>
                  </a:lnTo>
                  <a:lnTo>
                    <a:pt x="3624" y="2356"/>
                  </a:lnTo>
                  <a:lnTo>
                    <a:pt x="3811" y="2356"/>
                  </a:lnTo>
                  <a:lnTo>
                    <a:pt x="3750" y="1301"/>
                  </a:lnTo>
                  <a:lnTo>
                    <a:pt x="3749" y="1287"/>
                  </a:lnTo>
                  <a:lnTo>
                    <a:pt x="3743" y="1275"/>
                  </a:lnTo>
                  <a:lnTo>
                    <a:pt x="3737" y="1263"/>
                  </a:lnTo>
                  <a:lnTo>
                    <a:pt x="3727" y="1250"/>
                  </a:lnTo>
                  <a:lnTo>
                    <a:pt x="3715" y="1239"/>
                  </a:lnTo>
                  <a:lnTo>
                    <a:pt x="3701" y="1230"/>
                  </a:lnTo>
                  <a:lnTo>
                    <a:pt x="3686" y="1220"/>
                  </a:lnTo>
                  <a:lnTo>
                    <a:pt x="3668" y="1213"/>
                  </a:lnTo>
                  <a:lnTo>
                    <a:pt x="3471" y="1142"/>
                  </a:lnTo>
                  <a:lnTo>
                    <a:pt x="3388" y="1471"/>
                  </a:lnTo>
                  <a:lnTo>
                    <a:pt x="3385" y="1483"/>
                  </a:lnTo>
                  <a:lnTo>
                    <a:pt x="3381" y="1494"/>
                  </a:lnTo>
                  <a:lnTo>
                    <a:pt x="3376" y="1504"/>
                  </a:lnTo>
                  <a:lnTo>
                    <a:pt x="3370" y="1513"/>
                  </a:lnTo>
                  <a:lnTo>
                    <a:pt x="3363" y="1522"/>
                  </a:lnTo>
                  <a:lnTo>
                    <a:pt x="3357" y="1530"/>
                  </a:lnTo>
                  <a:lnTo>
                    <a:pt x="3350" y="1537"/>
                  </a:lnTo>
                  <a:lnTo>
                    <a:pt x="3341" y="1542"/>
                  </a:lnTo>
                  <a:lnTo>
                    <a:pt x="3333" y="1548"/>
                  </a:lnTo>
                  <a:lnTo>
                    <a:pt x="3325" y="1552"/>
                  </a:lnTo>
                  <a:lnTo>
                    <a:pt x="3307" y="1559"/>
                  </a:lnTo>
                  <a:lnTo>
                    <a:pt x="3289" y="1562"/>
                  </a:lnTo>
                  <a:lnTo>
                    <a:pt x="3270" y="1562"/>
                  </a:lnTo>
                  <a:lnTo>
                    <a:pt x="3251" y="1560"/>
                  </a:lnTo>
                  <a:lnTo>
                    <a:pt x="3233" y="1555"/>
                  </a:lnTo>
                  <a:lnTo>
                    <a:pt x="3215" y="1546"/>
                  </a:lnTo>
                  <a:lnTo>
                    <a:pt x="3198" y="1537"/>
                  </a:lnTo>
                  <a:lnTo>
                    <a:pt x="3183" y="1523"/>
                  </a:lnTo>
                  <a:lnTo>
                    <a:pt x="3178" y="1516"/>
                  </a:lnTo>
                  <a:lnTo>
                    <a:pt x="3171" y="1508"/>
                  </a:lnTo>
                  <a:lnTo>
                    <a:pt x="3165" y="1500"/>
                  </a:lnTo>
                  <a:lnTo>
                    <a:pt x="3161" y="1491"/>
                  </a:lnTo>
                  <a:lnTo>
                    <a:pt x="3157" y="1482"/>
                  </a:lnTo>
                  <a:lnTo>
                    <a:pt x="3154" y="1471"/>
                  </a:lnTo>
                  <a:lnTo>
                    <a:pt x="3072" y="1142"/>
                  </a:lnTo>
                  <a:close/>
                  <a:moveTo>
                    <a:pt x="114" y="2687"/>
                  </a:moveTo>
                  <a:lnTo>
                    <a:pt x="179" y="2687"/>
                  </a:lnTo>
                  <a:lnTo>
                    <a:pt x="346" y="2687"/>
                  </a:lnTo>
                  <a:lnTo>
                    <a:pt x="295" y="1435"/>
                  </a:lnTo>
                  <a:lnTo>
                    <a:pt x="350" y="1433"/>
                  </a:lnTo>
                  <a:lnTo>
                    <a:pt x="392" y="2458"/>
                  </a:lnTo>
                  <a:lnTo>
                    <a:pt x="1179" y="2458"/>
                  </a:lnTo>
                  <a:lnTo>
                    <a:pt x="1179" y="1078"/>
                  </a:lnTo>
                  <a:lnTo>
                    <a:pt x="1035" y="1040"/>
                  </a:lnTo>
                  <a:lnTo>
                    <a:pt x="1082" y="938"/>
                  </a:lnTo>
                  <a:lnTo>
                    <a:pt x="1212" y="975"/>
                  </a:lnTo>
                  <a:lnTo>
                    <a:pt x="1227" y="958"/>
                  </a:lnTo>
                  <a:lnTo>
                    <a:pt x="1243" y="945"/>
                  </a:lnTo>
                  <a:lnTo>
                    <a:pt x="1261" y="932"/>
                  </a:lnTo>
                  <a:lnTo>
                    <a:pt x="1282" y="920"/>
                  </a:lnTo>
                  <a:lnTo>
                    <a:pt x="1304" y="909"/>
                  </a:lnTo>
                  <a:lnTo>
                    <a:pt x="1327" y="899"/>
                  </a:lnTo>
                  <a:lnTo>
                    <a:pt x="1378" y="880"/>
                  </a:lnTo>
                  <a:lnTo>
                    <a:pt x="1777" y="735"/>
                  </a:lnTo>
                  <a:lnTo>
                    <a:pt x="1907" y="1502"/>
                  </a:lnTo>
                  <a:lnTo>
                    <a:pt x="1973" y="949"/>
                  </a:lnTo>
                  <a:lnTo>
                    <a:pt x="1956" y="940"/>
                  </a:lnTo>
                  <a:lnTo>
                    <a:pt x="1941" y="931"/>
                  </a:lnTo>
                  <a:lnTo>
                    <a:pt x="1929" y="918"/>
                  </a:lnTo>
                  <a:lnTo>
                    <a:pt x="1919" y="905"/>
                  </a:lnTo>
                  <a:lnTo>
                    <a:pt x="2018" y="810"/>
                  </a:lnTo>
                  <a:lnTo>
                    <a:pt x="2117" y="905"/>
                  </a:lnTo>
                  <a:lnTo>
                    <a:pt x="2108" y="918"/>
                  </a:lnTo>
                  <a:lnTo>
                    <a:pt x="2094" y="931"/>
                  </a:lnTo>
                  <a:lnTo>
                    <a:pt x="2080" y="940"/>
                  </a:lnTo>
                  <a:lnTo>
                    <a:pt x="2064" y="949"/>
                  </a:lnTo>
                  <a:lnTo>
                    <a:pt x="2130" y="1502"/>
                  </a:lnTo>
                  <a:lnTo>
                    <a:pt x="2259" y="735"/>
                  </a:lnTo>
                  <a:lnTo>
                    <a:pt x="2659" y="880"/>
                  </a:lnTo>
                  <a:lnTo>
                    <a:pt x="2698" y="895"/>
                  </a:lnTo>
                  <a:lnTo>
                    <a:pt x="2736" y="910"/>
                  </a:lnTo>
                  <a:lnTo>
                    <a:pt x="2754" y="920"/>
                  </a:lnTo>
                  <a:lnTo>
                    <a:pt x="2770" y="928"/>
                  </a:lnTo>
                  <a:lnTo>
                    <a:pt x="2785" y="938"/>
                  </a:lnTo>
                  <a:lnTo>
                    <a:pt x="2799" y="949"/>
                  </a:lnTo>
                  <a:lnTo>
                    <a:pt x="2811" y="960"/>
                  </a:lnTo>
                  <a:lnTo>
                    <a:pt x="2824" y="972"/>
                  </a:lnTo>
                  <a:lnTo>
                    <a:pt x="2833" y="986"/>
                  </a:lnTo>
                  <a:lnTo>
                    <a:pt x="2842" y="1001"/>
                  </a:lnTo>
                  <a:lnTo>
                    <a:pt x="2849" y="1018"/>
                  </a:lnTo>
                  <a:lnTo>
                    <a:pt x="2854" y="1034"/>
                  </a:lnTo>
                  <a:lnTo>
                    <a:pt x="2857" y="1053"/>
                  </a:lnTo>
                  <a:lnTo>
                    <a:pt x="2858" y="1074"/>
                  </a:lnTo>
                  <a:lnTo>
                    <a:pt x="2858" y="1084"/>
                  </a:lnTo>
                  <a:lnTo>
                    <a:pt x="3098" y="1022"/>
                  </a:lnTo>
                  <a:lnTo>
                    <a:pt x="3208" y="1458"/>
                  </a:lnTo>
                  <a:lnTo>
                    <a:pt x="3212" y="1468"/>
                  </a:lnTo>
                  <a:lnTo>
                    <a:pt x="3218" y="1478"/>
                  </a:lnTo>
                  <a:lnTo>
                    <a:pt x="3224" y="1484"/>
                  </a:lnTo>
                  <a:lnTo>
                    <a:pt x="3231" y="1491"/>
                  </a:lnTo>
                  <a:lnTo>
                    <a:pt x="3241" y="1495"/>
                  </a:lnTo>
                  <a:lnTo>
                    <a:pt x="3251" y="1500"/>
                  </a:lnTo>
                  <a:lnTo>
                    <a:pt x="3262" y="1501"/>
                  </a:lnTo>
                  <a:lnTo>
                    <a:pt x="3271" y="1502"/>
                  </a:lnTo>
                  <a:lnTo>
                    <a:pt x="3282" y="1501"/>
                  </a:lnTo>
                  <a:lnTo>
                    <a:pt x="3292" y="1500"/>
                  </a:lnTo>
                  <a:lnTo>
                    <a:pt x="3301" y="1495"/>
                  </a:lnTo>
                  <a:lnTo>
                    <a:pt x="3311" y="1491"/>
                  </a:lnTo>
                  <a:lnTo>
                    <a:pt x="3319" y="1484"/>
                  </a:lnTo>
                  <a:lnTo>
                    <a:pt x="3326" y="1478"/>
                  </a:lnTo>
                  <a:lnTo>
                    <a:pt x="3332" y="1468"/>
                  </a:lnTo>
                  <a:lnTo>
                    <a:pt x="3335" y="1458"/>
                  </a:lnTo>
                  <a:lnTo>
                    <a:pt x="3446" y="1016"/>
                  </a:lnTo>
                  <a:lnTo>
                    <a:pt x="3719" y="1115"/>
                  </a:lnTo>
                  <a:lnTo>
                    <a:pt x="3732" y="1121"/>
                  </a:lnTo>
                  <a:lnTo>
                    <a:pt x="3748" y="1128"/>
                  </a:lnTo>
                  <a:lnTo>
                    <a:pt x="3761" y="1136"/>
                  </a:lnTo>
                  <a:lnTo>
                    <a:pt x="3774" y="1144"/>
                  </a:lnTo>
                  <a:lnTo>
                    <a:pt x="3786" y="1154"/>
                  </a:lnTo>
                  <a:lnTo>
                    <a:pt x="3797" y="1164"/>
                  </a:lnTo>
                  <a:lnTo>
                    <a:pt x="3808" y="1173"/>
                  </a:lnTo>
                  <a:lnTo>
                    <a:pt x="3818" y="1186"/>
                  </a:lnTo>
                  <a:lnTo>
                    <a:pt x="3826" y="1197"/>
                  </a:lnTo>
                  <a:lnTo>
                    <a:pt x="3834" y="1209"/>
                  </a:lnTo>
                  <a:lnTo>
                    <a:pt x="3841" y="1223"/>
                  </a:lnTo>
                  <a:lnTo>
                    <a:pt x="3848" y="1235"/>
                  </a:lnTo>
                  <a:lnTo>
                    <a:pt x="3852" y="1250"/>
                  </a:lnTo>
                  <a:lnTo>
                    <a:pt x="3856" y="1264"/>
                  </a:lnTo>
                  <a:lnTo>
                    <a:pt x="3859" y="1279"/>
                  </a:lnTo>
                  <a:lnTo>
                    <a:pt x="3860" y="1294"/>
                  </a:lnTo>
                  <a:lnTo>
                    <a:pt x="3925" y="2429"/>
                  </a:lnTo>
                  <a:lnTo>
                    <a:pt x="3796" y="2777"/>
                  </a:lnTo>
                  <a:lnTo>
                    <a:pt x="3994" y="3791"/>
                  </a:lnTo>
                  <a:lnTo>
                    <a:pt x="3943" y="3791"/>
                  </a:lnTo>
                  <a:lnTo>
                    <a:pt x="3657" y="3791"/>
                  </a:lnTo>
                  <a:lnTo>
                    <a:pt x="3529" y="4711"/>
                  </a:lnTo>
                  <a:lnTo>
                    <a:pt x="3417" y="4711"/>
                  </a:lnTo>
                  <a:lnTo>
                    <a:pt x="3545" y="3791"/>
                  </a:lnTo>
                  <a:lnTo>
                    <a:pt x="3304" y="3791"/>
                  </a:lnTo>
                  <a:lnTo>
                    <a:pt x="3299" y="4711"/>
                  </a:lnTo>
                  <a:lnTo>
                    <a:pt x="3244" y="4711"/>
                  </a:lnTo>
                  <a:lnTo>
                    <a:pt x="3249" y="3791"/>
                  </a:lnTo>
                  <a:lnTo>
                    <a:pt x="2970" y="3791"/>
                  </a:lnTo>
                  <a:lnTo>
                    <a:pt x="3098" y="4711"/>
                  </a:lnTo>
                  <a:lnTo>
                    <a:pt x="3043" y="4711"/>
                  </a:lnTo>
                  <a:lnTo>
                    <a:pt x="2915" y="3791"/>
                  </a:lnTo>
                  <a:lnTo>
                    <a:pt x="2613" y="3791"/>
                  </a:lnTo>
                  <a:lnTo>
                    <a:pt x="2829" y="2740"/>
                  </a:lnTo>
                  <a:lnTo>
                    <a:pt x="2519" y="3130"/>
                  </a:lnTo>
                  <a:lnTo>
                    <a:pt x="2424" y="4704"/>
                  </a:lnTo>
                  <a:lnTo>
                    <a:pt x="2043" y="4704"/>
                  </a:lnTo>
                  <a:lnTo>
                    <a:pt x="2043" y="2839"/>
                  </a:lnTo>
                  <a:lnTo>
                    <a:pt x="1988" y="2839"/>
                  </a:lnTo>
                  <a:lnTo>
                    <a:pt x="1988" y="4704"/>
                  </a:lnTo>
                  <a:lnTo>
                    <a:pt x="1607" y="4704"/>
                  </a:lnTo>
                  <a:lnTo>
                    <a:pt x="1512" y="3123"/>
                  </a:lnTo>
                  <a:lnTo>
                    <a:pt x="1348" y="2916"/>
                  </a:lnTo>
                  <a:lnTo>
                    <a:pt x="1231" y="4700"/>
                  </a:lnTo>
                  <a:lnTo>
                    <a:pt x="865" y="4700"/>
                  </a:lnTo>
                  <a:lnTo>
                    <a:pt x="865" y="2839"/>
                  </a:lnTo>
                  <a:lnTo>
                    <a:pt x="810" y="2839"/>
                  </a:lnTo>
                  <a:lnTo>
                    <a:pt x="810" y="4700"/>
                  </a:lnTo>
                  <a:lnTo>
                    <a:pt x="423" y="4700"/>
                  </a:lnTo>
                  <a:lnTo>
                    <a:pt x="304" y="3207"/>
                  </a:lnTo>
                  <a:lnTo>
                    <a:pt x="112" y="2797"/>
                  </a:lnTo>
                  <a:lnTo>
                    <a:pt x="0" y="2797"/>
                  </a:lnTo>
                  <a:lnTo>
                    <a:pt x="52" y="1274"/>
                  </a:lnTo>
                  <a:lnTo>
                    <a:pt x="54" y="1257"/>
                  </a:lnTo>
                  <a:lnTo>
                    <a:pt x="56" y="1242"/>
                  </a:lnTo>
                  <a:lnTo>
                    <a:pt x="59" y="1227"/>
                  </a:lnTo>
                  <a:lnTo>
                    <a:pt x="65" y="1212"/>
                  </a:lnTo>
                  <a:lnTo>
                    <a:pt x="70" y="1197"/>
                  </a:lnTo>
                  <a:lnTo>
                    <a:pt x="78" y="1183"/>
                  </a:lnTo>
                  <a:lnTo>
                    <a:pt x="87" y="1169"/>
                  </a:lnTo>
                  <a:lnTo>
                    <a:pt x="95" y="1157"/>
                  </a:lnTo>
                  <a:lnTo>
                    <a:pt x="106" y="1144"/>
                  </a:lnTo>
                  <a:lnTo>
                    <a:pt x="117" y="1133"/>
                  </a:lnTo>
                  <a:lnTo>
                    <a:pt x="128" y="1122"/>
                  </a:lnTo>
                  <a:lnTo>
                    <a:pt x="140" y="1113"/>
                  </a:lnTo>
                  <a:lnTo>
                    <a:pt x="154" y="1103"/>
                  </a:lnTo>
                  <a:lnTo>
                    <a:pt x="168" y="1096"/>
                  </a:lnTo>
                  <a:lnTo>
                    <a:pt x="183" y="1089"/>
                  </a:lnTo>
                  <a:lnTo>
                    <a:pt x="198" y="1084"/>
                  </a:lnTo>
                  <a:lnTo>
                    <a:pt x="596" y="951"/>
                  </a:lnTo>
                  <a:lnTo>
                    <a:pt x="643" y="1052"/>
                  </a:lnTo>
                  <a:lnTo>
                    <a:pt x="233" y="1188"/>
                  </a:lnTo>
                  <a:lnTo>
                    <a:pt x="218" y="1194"/>
                  </a:lnTo>
                  <a:lnTo>
                    <a:pt x="205" y="1202"/>
                  </a:lnTo>
                  <a:lnTo>
                    <a:pt x="193" y="1212"/>
                  </a:lnTo>
                  <a:lnTo>
                    <a:pt x="183" y="1224"/>
                  </a:lnTo>
                  <a:lnTo>
                    <a:pt x="175" y="1237"/>
                  </a:lnTo>
                  <a:lnTo>
                    <a:pt x="168" y="1249"/>
                  </a:lnTo>
                  <a:lnTo>
                    <a:pt x="164" y="1263"/>
                  </a:lnTo>
                  <a:lnTo>
                    <a:pt x="162" y="1278"/>
                  </a:lnTo>
                  <a:lnTo>
                    <a:pt x="114" y="2687"/>
                  </a:lnTo>
                  <a:close/>
                  <a:moveTo>
                    <a:pt x="348" y="2742"/>
                  </a:moveTo>
                  <a:lnTo>
                    <a:pt x="205" y="2742"/>
                  </a:lnTo>
                  <a:lnTo>
                    <a:pt x="362" y="3069"/>
                  </a:lnTo>
                  <a:lnTo>
                    <a:pt x="348" y="2742"/>
                  </a:lnTo>
                  <a:close/>
                  <a:moveTo>
                    <a:pt x="2211" y="209"/>
                  </a:moveTo>
                  <a:lnTo>
                    <a:pt x="2211" y="209"/>
                  </a:lnTo>
                  <a:lnTo>
                    <a:pt x="2206" y="194"/>
                  </a:lnTo>
                  <a:lnTo>
                    <a:pt x="2197" y="180"/>
                  </a:lnTo>
                  <a:lnTo>
                    <a:pt x="2188" y="167"/>
                  </a:lnTo>
                  <a:lnTo>
                    <a:pt x="2178" y="154"/>
                  </a:lnTo>
                  <a:lnTo>
                    <a:pt x="2168" y="143"/>
                  </a:lnTo>
                  <a:lnTo>
                    <a:pt x="2156" y="134"/>
                  </a:lnTo>
                  <a:lnTo>
                    <a:pt x="2145" y="125"/>
                  </a:lnTo>
                  <a:lnTo>
                    <a:pt x="2133" y="117"/>
                  </a:lnTo>
                  <a:lnTo>
                    <a:pt x="2122" y="132"/>
                  </a:lnTo>
                  <a:lnTo>
                    <a:pt x="2108" y="146"/>
                  </a:lnTo>
                  <a:lnTo>
                    <a:pt x="2094" y="158"/>
                  </a:lnTo>
                  <a:lnTo>
                    <a:pt x="2079" y="168"/>
                  </a:lnTo>
                  <a:lnTo>
                    <a:pt x="2064" y="176"/>
                  </a:lnTo>
                  <a:lnTo>
                    <a:pt x="2046" y="183"/>
                  </a:lnTo>
                  <a:lnTo>
                    <a:pt x="2029" y="186"/>
                  </a:lnTo>
                  <a:lnTo>
                    <a:pt x="2010" y="187"/>
                  </a:lnTo>
                  <a:lnTo>
                    <a:pt x="1992" y="186"/>
                  </a:lnTo>
                  <a:lnTo>
                    <a:pt x="1976" y="183"/>
                  </a:lnTo>
                  <a:lnTo>
                    <a:pt x="1959" y="178"/>
                  </a:lnTo>
                  <a:lnTo>
                    <a:pt x="1944" y="169"/>
                  </a:lnTo>
                  <a:lnTo>
                    <a:pt x="1929" y="160"/>
                  </a:lnTo>
                  <a:lnTo>
                    <a:pt x="1915" y="149"/>
                  </a:lnTo>
                  <a:lnTo>
                    <a:pt x="1903" y="136"/>
                  </a:lnTo>
                  <a:lnTo>
                    <a:pt x="1892" y="123"/>
                  </a:lnTo>
                  <a:lnTo>
                    <a:pt x="1881" y="129"/>
                  </a:lnTo>
                  <a:lnTo>
                    <a:pt x="1870" y="138"/>
                  </a:lnTo>
                  <a:lnTo>
                    <a:pt x="1859" y="147"/>
                  </a:lnTo>
                  <a:lnTo>
                    <a:pt x="1849" y="158"/>
                  </a:lnTo>
                  <a:lnTo>
                    <a:pt x="1841" y="171"/>
                  </a:lnTo>
                  <a:lnTo>
                    <a:pt x="1832" y="183"/>
                  </a:lnTo>
                  <a:lnTo>
                    <a:pt x="1826" y="197"/>
                  </a:lnTo>
                  <a:lnTo>
                    <a:pt x="1819" y="211"/>
                  </a:lnTo>
                  <a:lnTo>
                    <a:pt x="1815" y="227"/>
                  </a:lnTo>
                  <a:lnTo>
                    <a:pt x="1810" y="242"/>
                  </a:lnTo>
                  <a:lnTo>
                    <a:pt x="1808" y="259"/>
                  </a:lnTo>
                  <a:lnTo>
                    <a:pt x="1806" y="277"/>
                  </a:lnTo>
                  <a:lnTo>
                    <a:pt x="1806" y="365"/>
                  </a:lnTo>
                  <a:lnTo>
                    <a:pt x="1808" y="390"/>
                  </a:lnTo>
                  <a:lnTo>
                    <a:pt x="1810" y="414"/>
                  </a:lnTo>
                  <a:lnTo>
                    <a:pt x="1816" y="437"/>
                  </a:lnTo>
                  <a:lnTo>
                    <a:pt x="1823" y="460"/>
                  </a:lnTo>
                  <a:lnTo>
                    <a:pt x="1832" y="481"/>
                  </a:lnTo>
                  <a:lnTo>
                    <a:pt x="1842" y="500"/>
                  </a:lnTo>
                  <a:lnTo>
                    <a:pt x="1855" y="519"/>
                  </a:lnTo>
                  <a:lnTo>
                    <a:pt x="1868" y="536"/>
                  </a:lnTo>
                  <a:lnTo>
                    <a:pt x="1883" y="551"/>
                  </a:lnTo>
                  <a:lnTo>
                    <a:pt x="1900" y="565"/>
                  </a:lnTo>
                  <a:lnTo>
                    <a:pt x="1916" y="576"/>
                  </a:lnTo>
                  <a:lnTo>
                    <a:pt x="1936" y="587"/>
                  </a:lnTo>
                  <a:lnTo>
                    <a:pt x="1955" y="593"/>
                  </a:lnTo>
                  <a:lnTo>
                    <a:pt x="1974" y="599"/>
                  </a:lnTo>
                  <a:lnTo>
                    <a:pt x="1995" y="603"/>
                  </a:lnTo>
                  <a:lnTo>
                    <a:pt x="2016" y="604"/>
                  </a:lnTo>
                  <a:lnTo>
                    <a:pt x="2036" y="603"/>
                  </a:lnTo>
                  <a:lnTo>
                    <a:pt x="2057" y="599"/>
                  </a:lnTo>
                  <a:lnTo>
                    <a:pt x="2076" y="593"/>
                  </a:lnTo>
                  <a:lnTo>
                    <a:pt x="2095" y="587"/>
                  </a:lnTo>
                  <a:lnTo>
                    <a:pt x="2115" y="576"/>
                  </a:lnTo>
                  <a:lnTo>
                    <a:pt x="2131" y="565"/>
                  </a:lnTo>
                  <a:lnTo>
                    <a:pt x="2148" y="551"/>
                  </a:lnTo>
                  <a:lnTo>
                    <a:pt x="2163" y="536"/>
                  </a:lnTo>
                  <a:lnTo>
                    <a:pt x="2177" y="519"/>
                  </a:lnTo>
                  <a:lnTo>
                    <a:pt x="2189" y="500"/>
                  </a:lnTo>
                  <a:lnTo>
                    <a:pt x="2199" y="481"/>
                  </a:lnTo>
                  <a:lnTo>
                    <a:pt x="2208" y="460"/>
                  </a:lnTo>
                  <a:lnTo>
                    <a:pt x="2215" y="437"/>
                  </a:lnTo>
                  <a:lnTo>
                    <a:pt x="2221" y="414"/>
                  </a:lnTo>
                  <a:lnTo>
                    <a:pt x="2223" y="390"/>
                  </a:lnTo>
                  <a:lnTo>
                    <a:pt x="2225" y="365"/>
                  </a:lnTo>
                  <a:lnTo>
                    <a:pt x="2225" y="281"/>
                  </a:lnTo>
                  <a:lnTo>
                    <a:pt x="2223" y="262"/>
                  </a:lnTo>
                  <a:lnTo>
                    <a:pt x="2221" y="244"/>
                  </a:lnTo>
                  <a:lnTo>
                    <a:pt x="2217" y="226"/>
                  </a:lnTo>
                  <a:lnTo>
                    <a:pt x="2211" y="209"/>
                  </a:lnTo>
                  <a:close/>
                  <a:moveTo>
                    <a:pt x="2016" y="0"/>
                  </a:moveTo>
                  <a:lnTo>
                    <a:pt x="2016" y="0"/>
                  </a:lnTo>
                  <a:lnTo>
                    <a:pt x="2043" y="1"/>
                  </a:lnTo>
                  <a:lnTo>
                    <a:pt x="2069" y="6"/>
                  </a:lnTo>
                  <a:lnTo>
                    <a:pt x="2095" y="14"/>
                  </a:lnTo>
                  <a:lnTo>
                    <a:pt x="2120" y="23"/>
                  </a:lnTo>
                  <a:lnTo>
                    <a:pt x="2144" y="36"/>
                  </a:lnTo>
                  <a:lnTo>
                    <a:pt x="2164" y="51"/>
                  </a:lnTo>
                  <a:lnTo>
                    <a:pt x="2185" y="67"/>
                  </a:lnTo>
                  <a:lnTo>
                    <a:pt x="2204" y="87"/>
                  </a:lnTo>
                  <a:lnTo>
                    <a:pt x="2221" y="109"/>
                  </a:lnTo>
                  <a:lnTo>
                    <a:pt x="2236" y="131"/>
                  </a:lnTo>
                  <a:lnTo>
                    <a:pt x="2248" y="156"/>
                  </a:lnTo>
                  <a:lnTo>
                    <a:pt x="2259" y="182"/>
                  </a:lnTo>
                  <a:lnTo>
                    <a:pt x="2269" y="208"/>
                  </a:lnTo>
                  <a:lnTo>
                    <a:pt x="2274" y="235"/>
                  </a:lnTo>
                  <a:lnTo>
                    <a:pt x="2279" y="264"/>
                  </a:lnTo>
                  <a:lnTo>
                    <a:pt x="2280" y="295"/>
                  </a:lnTo>
                  <a:lnTo>
                    <a:pt x="2280" y="365"/>
                  </a:lnTo>
                  <a:lnTo>
                    <a:pt x="2279" y="394"/>
                  </a:lnTo>
                  <a:lnTo>
                    <a:pt x="2274" y="423"/>
                  </a:lnTo>
                  <a:lnTo>
                    <a:pt x="2269" y="452"/>
                  </a:lnTo>
                  <a:lnTo>
                    <a:pt x="2259" y="478"/>
                  </a:lnTo>
                  <a:lnTo>
                    <a:pt x="2248" y="504"/>
                  </a:lnTo>
                  <a:lnTo>
                    <a:pt x="2236" y="527"/>
                  </a:lnTo>
                  <a:lnTo>
                    <a:pt x="2221" y="551"/>
                  </a:lnTo>
                  <a:lnTo>
                    <a:pt x="2204" y="571"/>
                  </a:lnTo>
                  <a:lnTo>
                    <a:pt x="2185" y="591"/>
                  </a:lnTo>
                  <a:lnTo>
                    <a:pt x="2164" y="609"/>
                  </a:lnTo>
                  <a:lnTo>
                    <a:pt x="2144" y="624"/>
                  </a:lnTo>
                  <a:lnTo>
                    <a:pt x="2120" y="636"/>
                  </a:lnTo>
                  <a:lnTo>
                    <a:pt x="2095" y="646"/>
                  </a:lnTo>
                  <a:lnTo>
                    <a:pt x="2069" y="653"/>
                  </a:lnTo>
                  <a:lnTo>
                    <a:pt x="2043" y="658"/>
                  </a:lnTo>
                  <a:lnTo>
                    <a:pt x="2016" y="660"/>
                  </a:lnTo>
                  <a:lnTo>
                    <a:pt x="1988" y="658"/>
                  </a:lnTo>
                  <a:lnTo>
                    <a:pt x="1962" y="653"/>
                  </a:lnTo>
                  <a:lnTo>
                    <a:pt x="1936" y="646"/>
                  </a:lnTo>
                  <a:lnTo>
                    <a:pt x="1911" y="636"/>
                  </a:lnTo>
                  <a:lnTo>
                    <a:pt x="1888" y="624"/>
                  </a:lnTo>
                  <a:lnTo>
                    <a:pt x="1867" y="609"/>
                  </a:lnTo>
                  <a:lnTo>
                    <a:pt x="1846" y="591"/>
                  </a:lnTo>
                  <a:lnTo>
                    <a:pt x="1827" y="571"/>
                  </a:lnTo>
                  <a:lnTo>
                    <a:pt x="1810" y="551"/>
                  </a:lnTo>
                  <a:lnTo>
                    <a:pt x="1795" y="527"/>
                  </a:lnTo>
                  <a:lnTo>
                    <a:pt x="1783" y="504"/>
                  </a:lnTo>
                  <a:lnTo>
                    <a:pt x="1772" y="478"/>
                  </a:lnTo>
                  <a:lnTo>
                    <a:pt x="1762" y="452"/>
                  </a:lnTo>
                  <a:lnTo>
                    <a:pt x="1757" y="423"/>
                  </a:lnTo>
                  <a:lnTo>
                    <a:pt x="1753" y="394"/>
                  </a:lnTo>
                  <a:lnTo>
                    <a:pt x="1751" y="365"/>
                  </a:lnTo>
                  <a:lnTo>
                    <a:pt x="1751" y="295"/>
                  </a:lnTo>
                  <a:lnTo>
                    <a:pt x="1753" y="264"/>
                  </a:lnTo>
                  <a:lnTo>
                    <a:pt x="1757" y="235"/>
                  </a:lnTo>
                  <a:lnTo>
                    <a:pt x="1762" y="208"/>
                  </a:lnTo>
                  <a:lnTo>
                    <a:pt x="1772" y="182"/>
                  </a:lnTo>
                  <a:lnTo>
                    <a:pt x="1783" y="156"/>
                  </a:lnTo>
                  <a:lnTo>
                    <a:pt x="1795" y="131"/>
                  </a:lnTo>
                  <a:lnTo>
                    <a:pt x="1810" y="109"/>
                  </a:lnTo>
                  <a:lnTo>
                    <a:pt x="1827" y="87"/>
                  </a:lnTo>
                  <a:lnTo>
                    <a:pt x="1846" y="67"/>
                  </a:lnTo>
                  <a:lnTo>
                    <a:pt x="1867" y="51"/>
                  </a:lnTo>
                  <a:lnTo>
                    <a:pt x="1888" y="36"/>
                  </a:lnTo>
                  <a:lnTo>
                    <a:pt x="1911" y="23"/>
                  </a:lnTo>
                  <a:lnTo>
                    <a:pt x="1936" y="14"/>
                  </a:lnTo>
                  <a:lnTo>
                    <a:pt x="1962" y="6"/>
                  </a:lnTo>
                  <a:lnTo>
                    <a:pt x="1988" y="1"/>
                  </a:lnTo>
                  <a:lnTo>
                    <a:pt x="2016" y="0"/>
                  </a:lnTo>
                  <a:close/>
                  <a:moveTo>
                    <a:pt x="3508" y="792"/>
                  </a:moveTo>
                  <a:lnTo>
                    <a:pt x="3508" y="792"/>
                  </a:lnTo>
                  <a:lnTo>
                    <a:pt x="3526" y="800"/>
                  </a:lnTo>
                  <a:lnTo>
                    <a:pt x="3547" y="806"/>
                  </a:lnTo>
                  <a:lnTo>
                    <a:pt x="3567" y="808"/>
                  </a:lnTo>
                  <a:lnTo>
                    <a:pt x="3588" y="808"/>
                  </a:lnTo>
                  <a:lnTo>
                    <a:pt x="3591" y="807"/>
                  </a:lnTo>
                  <a:lnTo>
                    <a:pt x="3588" y="819"/>
                  </a:lnTo>
                  <a:lnTo>
                    <a:pt x="3585" y="830"/>
                  </a:lnTo>
                  <a:lnTo>
                    <a:pt x="3581" y="841"/>
                  </a:lnTo>
                  <a:lnTo>
                    <a:pt x="3577" y="852"/>
                  </a:lnTo>
                  <a:lnTo>
                    <a:pt x="3571" y="862"/>
                  </a:lnTo>
                  <a:lnTo>
                    <a:pt x="3564" y="872"/>
                  </a:lnTo>
                  <a:lnTo>
                    <a:pt x="3558" y="881"/>
                  </a:lnTo>
                  <a:lnTo>
                    <a:pt x="3549" y="890"/>
                  </a:lnTo>
                  <a:lnTo>
                    <a:pt x="3541" y="896"/>
                  </a:lnTo>
                  <a:lnTo>
                    <a:pt x="3533" y="903"/>
                  </a:lnTo>
                  <a:lnTo>
                    <a:pt x="3523" y="910"/>
                  </a:lnTo>
                  <a:lnTo>
                    <a:pt x="3512" y="914"/>
                  </a:lnTo>
                  <a:lnTo>
                    <a:pt x="3501" y="920"/>
                  </a:lnTo>
                  <a:lnTo>
                    <a:pt x="3490" y="923"/>
                  </a:lnTo>
                  <a:lnTo>
                    <a:pt x="3479" y="925"/>
                  </a:lnTo>
                  <a:lnTo>
                    <a:pt x="3467" y="927"/>
                  </a:lnTo>
                  <a:lnTo>
                    <a:pt x="3446" y="927"/>
                  </a:lnTo>
                  <a:lnTo>
                    <a:pt x="3425" y="924"/>
                  </a:lnTo>
                  <a:lnTo>
                    <a:pt x="3406" y="920"/>
                  </a:lnTo>
                  <a:lnTo>
                    <a:pt x="3388" y="912"/>
                  </a:lnTo>
                  <a:lnTo>
                    <a:pt x="3374" y="920"/>
                  </a:lnTo>
                  <a:lnTo>
                    <a:pt x="3359" y="927"/>
                  </a:lnTo>
                  <a:lnTo>
                    <a:pt x="3346" y="934"/>
                  </a:lnTo>
                  <a:lnTo>
                    <a:pt x="3329" y="938"/>
                  </a:lnTo>
                  <a:lnTo>
                    <a:pt x="3314" y="942"/>
                  </a:lnTo>
                  <a:lnTo>
                    <a:pt x="3297" y="945"/>
                  </a:lnTo>
                  <a:lnTo>
                    <a:pt x="3281" y="947"/>
                  </a:lnTo>
                  <a:lnTo>
                    <a:pt x="3264" y="947"/>
                  </a:lnTo>
                  <a:lnTo>
                    <a:pt x="3248" y="947"/>
                  </a:lnTo>
                  <a:lnTo>
                    <a:pt x="3231" y="945"/>
                  </a:lnTo>
                  <a:lnTo>
                    <a:pt x="3215" y="942"/>
                  </a:lnTo>
                  <a:lnTo>
                    <a:pt x="3200" y="938"/>
                  </a:lnTo>
                  <a:lnTo>
                    <a:pt x="3184" y="934"/>
                  </a:lnTo>
                  <a:lnTo>
                    <a:pt x="3169" y="927"/>
                  </a:lnTo>
                  <a:lnTo>
                    <a:pt x="3154" y="920"/>
                  </a:lnTo>
                  <a:lnTo>
                    <a:pt x="3140" y="912"/>
                  </a:lnTo>
                  <a:lnTo>
                    <a:pt x="3123" y="920"/>
                  </a:lnTo>
                  <a:lnTo>
                    <a:pt x="3103" y="924"/>
                  </a:lnTo>
                  <a:lnTo>
                    <a:pt x="3083" y="927"/>
                  </a:lnTo>
                  <a:lnTo>
                    <a:pt x="3063" y="927"/>
                  </a:lnTo>
                  <a:lnTo>
                    <a:pt x="3051" y="925"/>
                  </a:lnTo>
                  <a:lnTo>
                    <a:pt x="3039" y="923"/>
                  </a:lnTo>
                  <a:lnTo>
                    <a:pt x="3028" y="920"/>
                  </a:lnTo>
                  <a:lnTo>
                    <a:pt x="3016" y="914"/>
                  </a:lnTo>
                  <a:lnTo>
                    <a:pt x="3007" y="910"/>
                  </a:lnTo>
                  <a:lnTo>
                    <a:pt x="2997" y="903"/>
                  </a:lnTo>
                  <a:lnTo>
                    <a:pt x="2988" y="896"/>
                  </a:lnTo>
                  <a:lnTo>
                    <a:pt x="2979" y="890"/>
                  </a:lnTo>
                  <a:lnTo>
                    <a:pt x="2971" y="881"/>
                  </a:lnTo>
                  <a:lnTo>
                    <a:pt x="2964" y="872"/>
                  </a:lnTo>
                  <a:lnTo>
                    <a:pt x="2957" y="862"/>
                  </a:lnTo>
                  <a:lnTo>
                    <a:pt x="2952" y="852"/>
                  </a:lnTo>
                  <a:lnTo>
                    <a:pt x="2948" y="841"/>
                  </a:lnTo>
                  <a:lnTo>
                    <a:pt x="2944" y="830"/>
                  </a:lnTo>
                  <a:lnTo>
                    <a:pt x="2941" y="819"/>
                  </a:lnTo>
                  <a:lnTo>
                    <a:pt x="2939" y="807"/>
                  </a:lnTo>
                  <a:lnTo>
                    <a:pt x="2941" y="808"/>
                  </a:lnTo>
                  <a:lnTo>
                    <a:pt x="2963" y="808"/>
                  </a:lnTo>
                  <a:lnTo>
                    <a:pt x="2982" y="806"/>
                  </a:lnTo>
                  <a:lnTo>
                    <a:pt x="3003" y="800"/>
                  </a:lnTo>
                  <a:lnTo>
                    <a:pt x="3022" y="792"/>
                  </a:lnTo>
                  <a:lnTo>
                    <a:pt x="3012" y="777"/>
                  </a:lnTo>
                  <a:lnTo>
                    <a:pt x="3004" y="761"/>
                  </a:lnTo>
                  <a:lnTo>
                    <a:pt x="2997" y="745"/>
                  </a:lnTo>
                  <a:lnTo>
                    <a:pt x="2992" y="726"/>
                  </a:lnTo>
                  <a:lnTo>
                    <a:pt x="2988" y="706"/>
                  </a:lnTo>
                  <a:lnTo>
                    <a:pt x="2983" y="687"/>
                  </a:lnTo>
                  <a:lnTo>
                    <a:pt x="2982" y="665"/>
                  </a:lnTo>
                  <a:lnTo>
                    <a:pt x="2981" y="642"/>
                  </a:lnTo>
                  <a:lnTo>
                    <a:pt x="2981" y="574"/>
                  </a:lnTo>
                  <a:lnTo>
                    <a:pt x="2982" y="541"/>
                  </a:lnTo>
                  <a:lnTo>
                    <a:pt x="2986" y="508"/>
                  </a:lnTo>
                  <a:lnTo>
                    <a:pt x="2993" y="475"/>
                  </a:lnTo>
                  <a:lnTo>
                    <a:pt x="3003" y="445"/>
                  </a:lnTo>
                  <a:lnTo>
                    <a:pt x="3014" y="414"/>
                  </a:lnTo>
                  <a:lnTo>
                    <a:pt x="3028" y="387"/>
                  </a:lnTo>
                  <a:lnTo>
                    <a:pt x="3044" y="361"/>
                  </a:lnTo>
                  <a:lnTo>
                    <a:pt x="3062" y="336"/>
                  </a:lnTo>
                  <a:lnTo>
                    <a:pt x="3083" y="314"/>
                  </a:lnTo>
                  <a:lnTo>
                    <a:pt x="3103" y="293"/>
                  </a:lnTo>
                  <a:lnTo>
                    <a:pt x="3127" y="275"/>
                  </a:lnTo>
                  <a:lnTo>
                    <a:pt x="3151" y="262"/>
                  </a:lnTo>
                  <a:lnTo>
                    <a:pt x="3165" y="255"/>
                  </a:lnTo>
                  <a:lnTo>
                    <a:pt x="3178" y="249"/>
                  </a:lnTo>
                  <a:lnTo>
                    <a:pt x="3191" y="245"/>
                  </a:lnTo>
                  <a:lnTo>
                    <a:pt x="3205" y="241"/>
                  </a:lnTo>
                  <a:lnTo>
                    <a:pt x="3220" y="237"/>
                  </a:lnTo>
                  <a:lnTo>
                    <a:pt x="3234" y="235"/>
                  </a:lnTo>
                  <a:lnTo>
                    <a:pt x="3249" y="234"/>
                  </a:lnTo>
                  <a:lnTo>
                    <a:pt x="3264" y="233"/>
                  </a:lnTo>
                  <a:lnTo>
                    <a:pt x="3279" y="234"/>
                  </a:lnTo>
                  <a:lnTo>
                    <a:pt x="3295" y="235"/>
                  </a:lnTo>
                  <a:lnTo>
                    <a:pt x="3308" y="237"/>
                  </a:lnTo>
                  <a:lnTo>
                    <a:pt x="3324" y="241"/>
                  </a:lnTo>
                  <a:lnTo>
                    <a:pt x="3337" y="245"/>
                  </a:lnTo>
                  <a:lnTo>
                    <a:pt x="3351" y="249"/>
                  </a:lnTo>
                  <a:lnTo>
                    <a:pt x="3365" y="255"/>
                  </a:lnTo>
                  <a:lnTo>
                    <a:pt x="3377" y="262"/>
                  </a:lnTo>
                  <a:lnTo>
                    <a:pt x="3402" y="275"/>
                  </a:lnTo>
                  <a:lnTo>
                    <a:pt x="3425" y="293"/>
                  </a:lnTo>
                  <a:lnTo>
                    <a:pt x="3447" y="314"/>
                  </a:lnTo>
                  <a:lnTo>
                    <a:pt x="3467" y="336"/>
                  </a:lnTo>
                  <a:lnTo>
                    <a:pt x="3485" y="361"/>
                  </a:lnTo>
                  <a:lnTo>
                    <a:pt x="3501" y="387"/>
                  </a:lnTo>
                  <a:lnTo>
                    <a:pt x="3515" y="414"/>
                  </a:lnTo>
                  <a:lnTo>
                    <a:pt x="3526" y="445"/>
                  </a:lnTo>
                  <a:lnTo>
                    <a:pt x="3536" y="475"/>
                  </a:lnTo>
                  <a:lnTo>
                    <a:pt x="3542" y="508"/>
                  </a:lnTo>
                  <a:lnTo>
                    <a:pt x="3547" y="541"/>
                  </a:lnTo>
                  <a:lnTo>
                    <a:pt x="3548" y="574"/>
                  </a:lnTo>
                  <a:lnTo>
                    <a:pt x="3548" y="642"/>
                  </a:lnTo>
                  <a:lnTo>
                    <a:pt x="3547" y="665"/>
                  </a:lnTo>
                  <a:lnTo>
                    <a:pt x="3545" y="687"/>
                  </a:lnTo>
                  <a:lnTo>
                    <a:pt x="3541" y="706"/>
                  </a:lnTo>
                  <a:lnTo>
                    <a:pt x="3537" y="726"/>
                  </a:lnTo>
                  <a:lnTo>
                    <a:pt x="3531" y="745"/>
                  </a:lnTo>
                  <a:lnTo>
                    <a:pt x="3525" y="761"/>
                  </a:lnTo>
                  <a:lnTo>
                    <a:pt x="3516" y="777"/>
                  </a:lnTo>
                  <a:lnTo>
                    <a:pt x="3508" y="792"/>
                  </a:lnTo>
                  <a:close/>
                  <a:moveTo>
                    <a:pt x="3385" y="406"/>
                  </a:moveTo>
                  <a:lnTo>
                    <a:pt x="3385" y="406"/>
                  </a:lnTo>
                  <a:lnTo>
                    <a:pt x="3376" y="424"/>
                  </a:lnTo>
                  <a:lnTo>
                    <a:pt x="3365" y="441"/>
                  </a:lnTo>
                  <a:lnTo>
                    <a:pt x="3352" y="456"/>
                  </a:lnTo>
                  <a:lnTo>
                    <a:pt x="3340" y="471"/>
                  </a:lnTo>
                  <a:lnTo>
                    <a:pt x="3326" y="486"/>
                  </a:lnTo>
                  <a:lnTo>
                    <a:pt x="3311" y="498"/>
                  </a:lnTo>
                  <a:lnTo>
                    <a:pt x="3295" y="511"/>
                  </a:lnTo>
                  <a:lnTo>
                    <a:pt x="3278" y="522"/>
                  </a:lnTo>
                  <a:lnTo>
                    <a:pt x="3260" y="532"/>
                  </a:lnTo>
                  <a:lnTo>
                    <a:pt x="3242" y="541"/>
                  </a:lnTo>
                  <a:lnTo>
                    <a:pt x="3224" y="548"/>
                  </a:lnTo>
                  <a:lnTo>
                    <a:pt x="3205" y="555"/>
                  </a:lnTo>
                  <a:lnTo>
                    <a:pt x="3184" y="559"/>
                  </a:lnTo>
                  <a:lnTo>
                    <a:pt x="3164" y="563"/>
                  </a:lnTo>
                  <a:lnTo>
                    <a:pt x="3143" y="566"/>
                  </a:lnTo>
                  <a:lnTo>
                    <a:pt x="3123" y="566"/>
                  </a:lnTo>
                  <a:lnTo>
                    <a:pt x="3095" y="565"/>
                  </a:lnTo>
                  <a:lnTo>
                    <a:pt x="3067" y="562"/>
                  </a:lnTo>
                  <a:lnTo>
                    <a:pt x="3066" y="585"/>
                  </a:lnTo>
                  <a:lnTo>
                    <a:pt x="3066" y="665"/>
                  </a:lnTo>
                  <a:lnTo>
                    <a:pt x="3067" y="690"/>
                  </a:lnTo>
                  <a:lnTo>
                    <a:pt x="3070" y="712"/>
                  </a:lnTo>
                  <a:lnTo>
                    <a:pt x="3076" y="734"/>
                  </a:lnTo>
                  <a:lnTo>
                    <a:pt x="3083" y="755"/>
                  </a:lnTo>
                  <a:lnTo>
                    <a:pt x="3091" y="775"/>
                  </a:lnTo>
                  <a:lnTo>
                    <a:pt x="3100" y="793"/>
                  </a:lnTo>
                  <a:lnTo>
                    <a:pt x="3113" y="811"/>
                  </a:lnTo>
                  <a:lnTo>
                    <a:pt x="3125" y="828"/>
                  </a:lnTo>
                  <a:lnTo>
                    <a:pt x="3139" y="841"/>
                  </a:lnTo>
                  <a:lnTo>
                    <a:pt x="3156" y="855"/>
                  </a:lnTo>
                  <a:lnTo>
                    <a:pt x="3171" y="866"/>
                  </a:lnTo>
                  <a:lnTo>
                    <a:pt x="3189" y="874"/>
                  </a:lnTo>
                  <a:lnTo>
                    <a:pt x="3206" y="883"/>
                  </a:lnTo>
                  <a:lnTo>
                    <a:pt x="3226" y="888"/>
                  </a:lnTo>
                  <a:lnTo>
                    <a:pt x="3245" y="891"/>
                  </a:lnTo>
                  <a:lnTo>
                    <a:pt x="3264" y="892"/>
                  </a:lnTo>
                  <a:lnTo>
                    <a:pt x="3284" y="891"/>
                  </a:lnTo>
                  <a:lnTo>
                    <a:pt x="3303" y="888"/>
                  </a:lnTo>
                  <a:lnTo>
                    <a:pt x="3322" y="883"/>
                  </a:lnTo>
                  <a:lnTo>
                    <a:pt x="3340" y="874"/>
                  </a:lnTo>
                  <a:lnTo>
                    <a:pt x="3358" y="866"/>
                  </a:lnTo>
                  <a:lnTo>
                    <a:pt x="3374" y="855"/>
                  </a:lnTo>
                  <a:lnTo>
                    <a:pt x="3390" y="841"/>
                  </a:lnTo>
                  <a:lnTo>
                    <a:pt x="3403" y="828"/>
                  </a:lnTo>
                  <a:lnTo>
                    <a:pt x="3416" y="811"/>
                  </a:lnTo>
                  <a:lnTo>
                    <a:pt x="3428" y="793"/>
                  </a:lnTo>
                  <a:lnTo>
                    <a:pt x="3438" y="775"/>
                  </a:lnTo>
                  <a:lnTo>
                    <a:pt x="3446" y="755"/>
                  </a:lnTo>
                  <a:lnTo>
                    <a:pt x="3453" y="734"/>
                  </a:lnTo>
                  <a:lnTo>
                    <a:pt x="3458" y="712"/>
                  </a:lnTo>
                  <a:lnTo>
                    <a:pt x="3461" y="690"/>
                  </a:lnTo>
                  <a:lnTo>
                    <a:pt x="3463" y="665"/>
                  </a:lnTo>
                  <a:lnTo>
                    <a:pt x="3463" y="585"/>
                  </a:lnTo>
                  <a:lnTo>
                    <a:pt x="3461" y="558"/>
                  </a:lnTo>
                  <a:lnTo>
                    <a:pt x="3457" y="532"/>
                  </a:lnTo>
                  <a:lnTo>
                    <a:pt x="3450" y="507"/>
                  </a:lnTo>
                  <a:lnTo>
                    <a:pt x="3442" y="483"/>
                  </a:lnTo>
                  <a:lnTo>
                    <a:pt x="3431" y="461"/>
                  </a:lnTo>
                  <a:lnTo>
                    <a:pt x="3417" y="441"/>
                  </a:lnTo>
                  <a:lnTo>
                    <a:pt x="3402" y="423"/>
                  </a:lnTo>
                  <a:lnTo>
                    <a:pt x="3385" y="406"/>
                  </a:lnTo>
                  <a:close/>
                  <a:moveTo>
                    <a:pt x="186" y="2587"/>
                  </a:moveTo>
                  <a:lnTo>
                    <a:pt x="186" y="2587"/>
                  </a:lnTo>
                  <a:lnTo>
                    <a:pt x="186" y="2579"/>
                  </a:lnTo>
                  <a:lnTo>
                    <a:pt x="189" y="2572"/>
                  </a:lnTo>
                  <a:lnTo>
                    <a:pt x="193" y="2565"/>
                  </a:lnTo>
                  <a:lnTo>
                    <a:pt x="197" y="2560"/>
                  </a:lnTo>
                  <a:lnTo>
                    <a:pt x="202" y="2556"/>
                  </a:lnTo>
                  <a:lnTo>
                    <a:pt x="209" y="2552"/>
                  </a:lnTo>
                  <a:lnTo>
                    <a:pt x="216" y="2550"/>
                  </a:lnTo>
                  <a:lnTo>
                    <a:pt x="223" y="2549"/>
                  </a:lnTo>
                  <a:lnTo>
                    <a:pt x="231" y="2550"/>
                  </a:lnTo>
                  <a:lnTo>
                    <a:pt x="238" y="2552"/>
                  </a:lnTo>
                  <a:lnTo>
                    <a:pt x="244" y="2556"/>
                  </a:lnTo>
                  <a:lnTo>
                    <a:pt x="249" y="2560"/>
                  </a:lnTo>
                  <a:lnTo>
                    <a:pt x="255" y="2565"/>
                  </a:lnTo>
                  <a:lnTo>
                    <a:pt x="257" y="2572"/>
                  </a:lnTo>
                  <a:lnTo>
                    <a:pt x="260" y="2579"/>
                  </a:lnTo>
                  <a:lnTo>
                    <a:pt x="260" y="2587"/>
                  </a:lnTo>
                  <a:lnTo>
                    <a:pt x="260" y="2594"/>
                  </a:lnTo>
                  <a:lnTo>
                    <a:pt x="257" y="2601"/>
                  </a:lnTo>
                  <a:lnTo>
                    <a:pt x="255" y="2608"/>
                  </a:lnTo>
                  <a:lnTo>
                    <a:pt x="249" y="2614"/>
                  </a:lnTo>
                  <a:lnTo>
                    <a:pt x="244" y="2618"/>
                  </a:lnTo>
                  <a:lnTo>
                    <a:pt x="238" y="2622"/>
                  </a:lnTo>
                  <a:lnTo>
                    <a:pt x="231" y="2623"/>
                  </a:lnTo>
                  <a:lnTo>
                    <a:pt x="223" y="2625"/>
                  </a:lnTo>
                  <a:lnTo>
                    <a:pt x="216" y="2623"/>
                  </a:lnTo>
                  <a:lnTo>
                    <a:pt x="209" y="2622"/>
                  </a:lnTo>
                  <a:lnTo>
                    <a:pt x="202" y="2618"/>
                  </a:lnTo>
                  <a:lnTo>
                    <a:pt x="197" y="2614"/>
                  </a:lnTo>
                  <a:lnTo>
                    <a:pt x="193" y="2608"/>
                  </a:lnTo>
                  <a:lnTo>
                    <a:pt x="189" y="2601"/>
                  </a:lnTo>
                  <a:lnTo>
                    <a:pt x="186" y="2594"/>
                  </a:lnTo>
                  <a:lnTo>
                    <a:pt x="186" y="2587"/>
                  </a:lnTo>
                  <a:close/>
                  <a:moveTo>
                    <a:pt x="720" y="2260"/>
                  </a:moveTo>
                  <a:lnTo>
                    <a:pt x="792" y="1121"/>
                  </a:lnTo>
                  <a:lnTo>
                    <a:pt x="783" y="1115"/>
                  </a:lnTo>
                  <a:lnTo>
                    <a:pt x="776" y="1108"/>
                  </a:lnTo>
                  <a:lnTo>
                    <a:pt x="770" y="1102"/>
                  </a:lnTo>
                  <a:lnTo>
                    <a:pt x="764" y="1095"/>
                  </a:lnTo>
                  <a:lnTo>
                    <a:pt x="760" y="1086"/>
                  </a:lnTo>
                  <a:lnTo>
                    <a:pt x="756" y="1078"/>
                  </a:lnTo>
                  <a:lnTo>
                    <a:pt x="753" y="1069"/>
                  </a:lnTo>
                  <a:lnTo>
                    <a:pt x="752" y="1059"/>
                  </a:lnTo>
                  <a:lnTo>
                    <a:pt x="837" y="980"/>
                  </a:lnTo>
                  <a:lnTo>
                    <a:pt x="924" y="1059"/>
                  </a:lnTo>
                  <a:lnTo>
                    <a:pt x="922" y="1069"/>
                  </a:lnTo>
                  <a:lnTo>
                    <a:pt x="920" y="1078"/>
                  </a:lnTo>
                  <a:lnTo>
                    <a:pt x="916" y="1086"/>
                  </a:lnTo>
                  <a:lnTo>
                    <a:pt x="910" y="1095"/>
                  </a:lnTo>
                  <a:lnTo>
                    <a:pt x="905" y="1102"/>
                  </a:lnTo>
                  <a:lnTo>
                    <a:pt x="899" y="1108"/>
                  </a:lnTo>
                  <a:lnTo>
                    <a:pt x="892" y="1115"/>
                  </a:lnTo>
                  <a:lnTo>
                    <a:pt x="884" y="1121"/>
                  </a:lnTo>
                  <a:lnTo>
                    <a:pt x="955" y="2260"/>
                  </a:lnTo>
                  <a:lnTo>
                    <a:pt x="837" y="2397"/>
                  </a:lnTo>
                  <a:lnTo>
                    <a:pt x="720" y="226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7" name="Freeform 99"/>
            <p:cNvSpPr>
              <a:spLocks noChangeAspect="1" noEditPoints="1"/>
            </p:cNvSpPr>
            <p:nvPr/>
          </p:nvSpPr>
          <p:spPr bwMode="auto">
            <a:xfrm>
              <a:off x="5847524" y="4210150"/>
              <a:ext cx="815288" cy="805296"/>
            </a:xfrm>
            <a:custGeom>
              <a:avLst/>
              <a:gdLst>
                <a:gd name="T0" fmla="*/ 2147483647 w 4826"/>
                <a:gd name="T1" fmla="*/ 2147483647 h 4763"/>
                <a:gd name="T2" fmla="*/ 2147483647 w 4826"/>
                <a:gd name="T3" fmla="*/ 2147483647 h 4763"/>
                <a:gd name="T4" fmla="*/ 2147483647 w 4826"/>
                <a:gd name="T5" fmla="*/ 2147483647 h 4763"/>
                <a:gd name="T6" fmla="*/ 2147483647 w 4826"/>
                <a:gd name="T7" fmla="*/ 2147483647 h 4763"/>
                <a:gd name="T8" fmla="*/ 2147483647 w 4826"/>
                <a:gd name="T9" fmla="*/ 2147483647 h 4763"/>
                <a:gd name="T10" fmla="*/ 2147483647 w 4826"/>
                <a:gd name="T11" fmla="*/ 2147483647 h 4763"/>
                <a:gd name="T12" fmla="*/ 2147483647 w 4826"/>
                <a:gd name="T13" fmla="*/ 2147483647 h 4763"/>
                <a:gd name="T14" fmla="*/ 2147483647 w 4826"/>
                <a:gd name="T15" fmla="*/ 2147483647 h 4763"/>
                <a:gd name="T16" fmla="*/ 2147483647 w 4826"/>
                <a:gd name="T17" fmla="*/ 2147483647 h 4763"/>
                <a:gd name="T18" fmla="*/ 2147483647 w 4826"/>
                <a:gd name="T19" fmla="*/ 2147483647 h 4763"/>
                <a:gd name="T20" fmla="*/ 2147483647 w 4826"/>
                <a:gd name="T21" fmla="*/ 2147483647 h 4763"/>
                <a:gd name="T22" fmla="*/ 2147483647 w 4826"/>
                <a:gd name="T23" fmla="*/ 2147483647 h 4763"/>
                <a:gd name="T24" fmla="*/ 2147483647 w 4826"/>
                <a:gd name="T25" fmla="*/ 2147483647 h 4763"/>
                <a:gd name="T26" fmla="*/ 2147483647 w 4826"/>
                <a:gd name="T27" fmla="*/ 2147483647 h 4763"/>
                <a:gd name="T28" fmla="*/ 2147483647 w 4826"/>
                <a:gd name="T29" fmla="*/ 2147483647 h 4763"/>
                <a:gd name="T30" fmla="*/ 2147483647 w 4826"/>
                <a:gd name="T31" fmla="*/ 2147483647 h 4763"/>
                <a:gd name="T32" fmla="*/ 2147483647 w 4826"/>
                <a:gd name="T33" fmla="*/ 2147483647 h 4763"/>
                <a:gd name="T34" fmla="*/ 2147483647 w 4826"/>
                <a:gd name="T35" fmla="*/ 2147483647 h 4763"/>
                <a:gd name="T36" fmla="*/ 2147483647 w 4826"/>
                <a:gd name="T37" fmla="*/ 2147483647 h 4763"/>
                <a:gd name="T38" fmla="*/ 2147483647 w 4826"/>
                <a:gd name="T39" fmla="*/ 2147483647 h 4763"/>
                <a:gd name="T40" fmla="*/ 2147483647 w 4826"/>
                <a:gd name="T41" fmla="*/ 2147483647 h 4763"/>
                <a:gd name="T42" fmla="*/ 2147483647 w 4826"/>
                <a:gd name="T43" fmla="*/ 2147483647 h 4763"/>
                <a:gd name="T44" fmla="*/ 2147483647 w 4826"/>
                <a:gd name="T45" fmla="*/ 2147483647 h 4763"/>
                <a:gd name="T46" fmla="*/ 2147483647 w 4826"/>
                <a:gd name="T47" fmla="*/ 2147483647 h 4763"/>
                <a:gd name="T48" fmla="*/ 2147483647 w 4826"/>
                <a:gd name="T49" fmla="*/ 2147483647 h 4763"/>
                <a:gd name="T50" fmla="*/ 2147483647 w 4826"/>
                <a:gd name="T51" fmla="*/ 2147483647 h 4763"/>
                <a:gd name="T52" fmla="*/ 2147483647 w 4826"/>
                <a:gd name="T53" fmla="*/ 2147483647 h 4763"/>
                <a:gd name="T54" fmla="*/ 2147483647 w 4826"/>
                <a:gd name="T55" fmla="*/ 2147483647 h 4763"/>
                <a:gd name="T56" fmla="*/ 2147483647 w 4826"/>
                <a:gd name="T57" fmla="*/ 2147483647 h 4763"/>
                <a:gd name="T58" fmla="*/ 2147483647 w 4826"/>
                <a:gd name="T59" fmla="*/ 2147483647 h 4763"/>
                <a:gd name="T60" fmla="*/ 2147483647 w 4826"/>
                <a:gd name="T61" fmla="*/ 2147483647 h 4763"/>
                <a:gd name="T62" fmla="*/ 2147483647 w 4826"/>
                <a:gd name="T63" fmla="*/ 2147483647 h 4763"/>
                <a:gd name="T64" fmla="*/ 2147483647 w 4826"/>
                <a:gd name="T65" fmla="*/ 2147483647 h 4763"/>
                <a:gd name="T66" fmla="*/ 2147483647 w 4826"/>
                <a:gd name="T67" fmla="*/ 2147483647 h 4763"/>
                <a:gd name="T68" fmla="*/ 2147483647 w 4826"/>
                <a:gd name="T69" fmla="*/ 2147483647 h 4763"/>
                <a:gd name="T70" fmla="*/ 2147483647 w 4826"/>
                <a:gd name="T71" fmla="*/ 2147483647 h 4763"/>
                <a:gd name="T72" fmla="*/ 2147483647 w 4826"/>
                <a:gd name="T73" fmla="*/ 2147483647 h 4763"/>
                <a:gd name="T74" fmla="*/ 2147483647 w 4826"/>
                <a:gd name="T75" fmla="*/ 2147483647 h 4763"/>
                <a:gd name="T76" fmla="*/ 2147483647 w 4826"/>
                <a:gd name="T77" fmla="*/ 2147483647 h 4763"/>
                <a:gd name="T78" fmla="*/ 2147483647 w 4826"/>
                <a:gd name="T79" fmla="*/ 2147483647 h 4763"/>
                <a:gd name="T80" fmla="*/ 2147483647 w 4826"/>
                <a:gd name="T81" fmla="*/ 2147483647 h 4763"/>
                <a:gd name="T82" fmla="*/ 2147483647 w 4826"/>
                <a:gd name="T83" fmla="*/ 2147483647 h 4763"/>
                <a:gd name="T84" fmla="*/ 2147483647 w 4826"/>
                <a:gd name="T85" fmla="*/ 2147483647 h 4763"/>
                <a:gd name="T86" fmla="*/ 2147483647 w 4826"/>
                <a:gd name="T87" fmla="*/ 2147483647 h 4763"/>
                <a:gd name="T88" fmla="*/ 2147483647 w 4826"/>
                <a:gd name="T89" fmla="*/ 2147483647 h 4763"/>
                <a:gd name="T90" fmla="*/ 2147483647 w 4826"/>
                <a:gd name="T91" fmla="*/ 2147483647 h 4763"/>
                <a:gd name="T92" fmla="*/ 2147483647 w 4826"/>
                <a:gd name="T93" fmla="*/ 2147483647 h 4763"/>
                <a:gd name="T94" fmla="*/ 2147483647 w 4826"/>
                <a:gd name="T95" fmla="*/ 2147483647 h 4763"/>
                <a:gd name="T96" fmla="*/ 2147483647 w 4826"/>
                <a:gd name="T97" fmla="*/ 2147483647 h 4763"/>
                <a:gd name="T98" fmla="*/ 2147483647 w 4826"/>
                <a:gd name="T99" fmla="*/ 2147483647 h 4763"/>
                <a:gd name="T100" fmla="*/ 2147483647 w 4826"/>
                <a:gd name="T101" fmla="*/ 2147483647 h 4763"/>
                <a:gd name="T102" fmla="*/ 2147483647 w 4826"/>
                <a:gd name="T103" fmla="*/ 2147483647 h 4763"/>
                <a:gd name="T104" fmla="*/ 2147483647 w 4826"/>
                <a:gd name="T105" fmla="*/ 2147483647 h 4763"/>
                <a:gd name="T106" fmla="*/ 2147483647 w 4826"/>
                <a:gd name="T107" fmla="*/ 2147483647 h 4763"/>
                <a:gd name="T108" fmla="*/ 2147483647 w 4826"/>
                <a:gd name="T109" fmla="*/ 2147483647 h 4763"/>
                <a:gd name="T110" fmla="*/ 2147483647 w 4826"/>
                <a:gd name="T111" fmla="*/ 2147483647 h 4763"/>
                <a:gd name="T112" fmla="*/ 2147483647 w 4826"/>
                <a:gd name="T113" fmla="*/ 2147483647 h 4763"/>
                <a:gd name="T114" fmla="*/ 2147483647 w 4826"/>
                <a:gd name="T115" fmla="*/ 2147483647 h 4763"/>
                <a:gd name="T116" fmla="*/ 2147483647 w 4826"/>
                <a:gd name="T117" fmla="*/ 2147483647 h 4763"/>
                <a:gd name="T118" fmla="*/ 2147483647 w 4826"/>
                <a:gd name="T119" fmla="*/ 2147483647 h 4763"/>
                <a:gd name="T120" fmla="*/ 2147483647 w 4826"/>
                <a:gd name="T121" fmla="*/ 2147483647 h 476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26"/>
                <a:gd name="T184" fmla="*/ 0 h 4763"/>
                <a:gd name="T185" fmla="*/ 4826 w 4826"/>
                <a:gd name="T186" fmla="*/ 4763 h 476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26" h="4763">
                  <a:moveTo>
                    <a:pt x="3865" y="1076"/>
                  </a:moveTo>
                  <a:lnTo>
                    <a:pt x="4826" y="1489"/>
                  </a:lnTo>
                  <a:lnTo>
                    <a:pt x="4710" y="1916"/>
                  </a:lnTo>
                  <a:lnTo>
                    <a:pt x="116" y="1916"/>
                  </a:lnTo>
                  <a:lnTo>
                    <a:pt x="0" y="1489"/>
                  </a:lnTo>
                  <a:lnTo>
                    <a:pt x="2409" y="448"/>
                  </a:lnTo>
                  <a:lnTo>
                    <a:pt x="2862" y="644"/>
                  </a:lnTo>
                  <a:lnTo>
                    <a:pt x="2873" y="620"/>
                  </a:lnTo>
                  <a:lnTo>
                    <a:pt x="2885" y="595"/>
                  </a:lnTo>
                  <a:lnTo>
                    <a:pt x="2899" y="573"/>
                  </a:lnTo>
                  <a:lnTo>
                    <a:pt x="2913" y="549"/>
                  </a:lnTo>
                  <a:lnTo>
                    <a:pt x="2929" y="528"/>
                  </a:lnTo>
                  <a:lnTo>
                    <a:pt x="2946" y="505"/>
                  </a:lnTo>
                  <a:lnTo>
                    <a:pt x="2965" y="486"/>
                  </a:lnTo>
                  <a:lnTo>
                    <a:pt x="2985" y="466"/>
                  </a:lnTo>
                  <a:lnTo>
                    <a:pt x="3005" y="446"/>
                  </a:lnTo>
                  <a:lnTo>
                    <a:pt x="3027" y="428"/>
                  </a:lnTo>
                  <a:lnTo>
                    <a:pt x="3048" y="412"/>
                  </a:lnTo>
                  <a:lnTo>
                    <a:pt x="3072" y="397"/>
                  </a:lnTo>
                  <a:lnTo>
                    <a:pt x="3095" y="383"/>
                  </a:lnTo>
                  <a:lnTo>
                    <a:pt x="3118" y="370"/>
                  </a:lnTo>
                  <a:lnTo>
                    <a:pt x="3143" y="359"/>
                  </a:lnTo>
                  <a:lnTo>
                    <a:pt x="3167" y="349"/>
                  </a:lnTo>
                  <a:lnTo>
                    <a:pt x="3192" y="340"/>
                  </a:lnTo>
                  <a:lnTo>
                    <a:pt x="3218" y="332"/>
                  </a:lnTo>
                  <a:lnTo>
                    <a:pt x="3243" y="325"/>
                  </a:lnTo>
                  <a:lnTo>
                    <a:pt x="3269" y="320"/>
                  </a:lnTo>
                  <a:lnTo>
                    <a:pt x="3295" y="316"/>
                  </a:lnTo>
                  <a:lnTo>
                    <a:pt x="3321" y="314"/>
                  </a:lnTo>
                  <a:lnTo>
                    <a:pt x="3347" y="312"/>
                  </a:lnTo>
                  <a:lnTo>
                    <a:pt x="3373" y="312"/>
                  </a:lnTo>
                  <a:lnTo>
                    <a:pt x="3399" y="314"/>
                  </a:lnTo>
                  <a:lnTo>
                    <a:pt x="3426" y="316"/>
                  </a:lnTo>
                  <a:lnTo>
                    <a:pt x="3452" y="319"/>
                  </a:lnTo>
                  <a:lnTo>
                    <a:pt x="3477" y="324"/>
                  </a:lnTo>
                  <a:lnTo>
                    <a:pt x="3503" y="330"/>
                  </a:lnTo>
                  <a:lnTo>
                    <a:pt x="3528" y="337"/>
                  </a:lnTo>
                  <a:lnTo>
                    <a:pt x="3553" y="346"/>
                  </a:lnTo>
                  <a:lnTo>
                    <a:pt x="3577" y="356"/>
                  </a:lnTo>
                  <a:lnTo>
                    <a:pt x="3601" y="367"/>
                  </a:lnTo>
                  <a:lnTo>
                    <a:pt x="3625" y="378"/>
                  </a:lnTo>
                  <a:lnTo>
                    <a:pt x="3648" y="392"/>
                  </a:lnTo>
                  <a:lnTo>
                    <a:pt x="3671" y="407"/>
                  </a:lnTo>
                  <a:lnTo>
                    <a:pt x="3693" y="423"/>
                  </a:lnTo>
                  <a:lnTo>
                    <a:pt x="3714" y="441"/>
                  </a:lnTo>
                  <a:lnTo>
                    <a:pt x="3736" y="459"/>
                  </a:lnTo>
                  <a:lnTo>
                    <a:pt x="3755" y="478"/>
                  </a:lnTo>
                  <a:lnTo>
                    <a:pt x="3770" y="494"/>
                  </a:lnTo>
                  <a:lnTo>
                    <a:pt x="3784" y="510"/>
                  </a:lnTo>
                  <a:lnTo>
                    <a:pt x="3797" y="527"/>
                  </a:lnTo>
                  <a:lnTo>
                    <a:pt x="3809" y="543"/>
                  </a:lnTo>
                  <a:lnTo>
                    <a:pt x="3820" y="560"/>
                  </a:lnTo>
                  <a:lnTo>
                    <a:pt x="3831" y="578"/>
                  </a:lnTo>
                  <a:lnTo>
                    <a:pt x="3841" y="595"/>
                  </a:lnTo>
                  <a:lnTo>
                    <a:pt x="3850" y="612"/>
                  </a:lnTo>
                  <a:lnTo>
                    <a:pt x="3859" y="631"/>
                  </a:lnTo>
                  <a:lnTo>
                    <a:pt x="3868" y="650"/>
                  </a:lnTo>
                  <a:lnTo>
                    <a:pt x="3881" y="687"/>
                  </a:lnTo>
                  <a:lnTo>
                    <a:pt x="3892" y="726"/>
                  </a:lnTo>
                  <a:lnTo>
                    <a:pt x="3900" y="764"/>
                  </a:lnTo>
                  <a:lnTo>
                    <a:pt x="3906" y="803"/>
                  </a:lnTo>
                  <a:lnTo>
                    <a:pt x="3909" y="843"/>
                  </a:lnTo>
                  <a:lnTo>
                    <a:pt x="3909" y="883"/>
                  </a:lnTo>
                  <a:lnTo>
                    <a:pt x="3905" y="922"/>
                  </a:lnTo>
                  <a:lnTo>
                    <a:pt x="3900" y="961"/>
                  </a:lnTo>
                  <a:lnTo>
                    <a:pt x="3891" y="1000"/>
                  </a:lnTo>
                  <a:lnTo>
                    <a:pt x="3879" y="1038"/>
                  </a:lnTo>
                  <a:lnTo>
                    <a:pt x="3865" y="1076"/>
                  </a:lnTo>
                  <a:close/>
                  <a:moveTo>
                    <a:pt x="238" y="1605"/>
                  </a:moveTo>
                  <a:lnTo>
                    <a:pt x="268" y="1717"/>
                  </a:lnTo>
                  <a:lnTo>
                    <a:pt x="4558" y="1717"/>
                  </a:lnTo>
                  <a:lnTo>
                    <a:pt x="4588" y="1605"/>
                  </a:lnTo>
                  <a:lnTo>
                    <a:pt x="3653" y="1196"/>
                  </a:lnTo>
                  <a:lnTo>
                    <a:pt x="3673" y="1178"/>
                  </a:lnTo>
                  <a:lnTo>
                    <a:pt x="3690" y="1161"/>
                  </a:lnTo>
                  <a:lnTo>
                    <a:pt x="3704" y="1144"/>
                  </a:lnTo>
                  <a:lnTo>
                    <a:pt x="3718" y="1127"/>
                  </a:lnTo>
                  <a:lnTo>
                    <a:pt x="3732" y="1109"/>
                  </a:lnTo>
                  <a:lnTo>
                    <a:pt x="3743" y="1091"/>
                  </a:lnTo>
                  <a:lnTo>
                    <a:pt x="3754" y="1072"/>
                  </a:lnTo>
                  <a:lnTo>
                    <a:pt x="3764" y="1052"/>
                  </a:lnTo>
                  <a:lnTo>
                    <a:pt x="3773" y="1032"/>
                  </a:lnTo>
                  <a:lnTo>
                    <a:pt x="3782" y="1012"/>
                  </a:lnTo>
                  <a:lnTo>
                    <a:pt x="3788" y="992"/>
                  </a:lnTo>
                  <a:lnTo>
                    <a:pt x="3794" y="971"/>
                  </a:lnTo>
                  <a:lnTo>
                    <a:pt x="3799" y="950"/>
                  </a:lnTo>
                  <a:lnTo>
                    <a:pt x="3803" y="929"/>
                  </a:lnTo>
                  <a:lnTo>
                    <a:pt x="3807" y="908"/>
                  </a:lnTo>
                  <a:lnTo>
                    <a:pt x="3808" y="886"/>
                  </a:lnTo>
                  <a:lnTo>
                    <a:pt x="3809" y="865"/>
                  </a:lnTo>
                  <a:lnTo>
                    <a:pt x="3809" y="844"/>
                  </a:lnTo>
                  <a:lnTo>
                    <a:pt x="3808" y="823"/>
                  </a:lnTo>
                  <a:lnTo>
                    <a:pt x="3805" y="802"/>
                  </a:lnTo>
                  <a:lnTo>
                    <a:pt x="3803" y="779"/>
                  </a:lnTo>
                  <a:lnTo>
                    <a:pt x="3798" y="759"/>
                  </a:lnTo>
                  <a:lnTo>
                    <a:pt x="3793" y="738"/>
                  </a:lnTo>
                  <a:lnTo>
                    <a:pt x="3787" y="717"/>
                  </a:lnTo>
                  <a:lnTo>
                    <a:pt x="3779" y="697"/>
                  </a:lnTo>
                  <a:lnTo>
                    <a:pt x="3770" y="677"/>
                  </a:lnTo>
                  <a:lnTo>
                    <a:pt x="3762" y="657"/>
                  </a:lnTo>
                  <a:lnTo>
                    <a:pt x="3752" y="637"/>
                  </a:lnTo>
                  <a:lnTo>
                    <a:pt x="3739" y="619"/>
                  </a:lnTo>
                  <a:lnTo>
                    <a:pt x="3727" y="600"/>
                  </a:lnTo>
                  <a:lnTo>
                    <a:pt x="3714" y="583"/>
                  </a:lnTo>
                  <a:lnTo>
                    <a:pt x="3699" y="565"/>
                  </a:lnTo>
                  <a:lnTo>
                    <a:pt x="3685" y="548"/>
                  </a:lnTo>
                  <a:lnTo>
                    <a:pt x="3667" y="532"/>
                  </a:lnTo>
                  <a:lnTo>
                    <a:pt x="3651" y="517"/>
                  </a:lnTo>
                  <a:lnTo>
                    <a:pt x="3634" y="503"/>
                  </a:lnTo>
                  <a:lnTo>
                    <a:pt x="3615" y="489"/>
                  </a:lnTo>
                  <a:lnTo>
                    <a:pt x="3596" y="477"/>
                  </a:lnTo>
                  <a:lnTo>
                    <a:pt x="3577" y="467"/>
                  </a:lnTo>
                  <a:lnTo>
                    <a:pt x="3558" y="457"/>
                  </a:lnTo>
                  <a:lnTo>
                    <a:pt x="3539" y="447"/>
                  </a:lnTo>
                  <a:lnTo>
                    <a:pt x="3518" y="439"/>
                  </a:lnTo>
                  <a:lnTo>
                    <a:pt x="3498" y="432"/>
                  </a:lnTo>
                  <a:lnTo>
                    <a:pt x="3477" y="426"/>
                  </a:lnTo>
                  <a:lnTo>
                    <a:pt x="3457" y="422"/>
                  </a:lnTo>
                  <a:lnTo>
                    <a:pt x="3436" y="417"/>
                  </a:lnTo>
                  <a:lnTo>
                    <a:pt x="3414" y="415"/>
                  </a:lnTo>
                  <a:lnTo>
                    <a:pt x="3392" y="412"/>
                  </a:lnTo>
                  <a:lnTo>
                    <a:pt x="3371" y="412"/>
                  </a:lnTo>
                  <a:lnTo>
                    <a:pt x="3350" y="412"/>
                  </a:lnTo>
                  <a:lnTo>
                    <a:pt x="3329" y="413"/>
                  </a:lnTo>
                  <a:lnTo>
                    <a:pt x="3307" y="416"/>
                  </a:lnTo>
                  <a:lnTo>
                    <a:pt x="3286" y="418"/>
                  </a:lnTo>
                  <a:lnTo>
                    <a:pt x="3265" y="423"/>
                  </a:lnTo>
                  <a:lnTo>
                    <a:pt x="3244" y="428"/>
                  </a:lnTo>
                  <a:lnTo>
                    <a:pt x="3224" y="434"/>
                  </a:lnTo>
                  <a:lnTo>
                    <a:pt x="3203" y="442"/>
                  </a:lnTo>
                  <a:lnTo>
                    <a:pt x="3183" y="449"/>
                  </a:lnTo>
                  <a:lnTo>
                    <a:pt x="3163" y="459"/>
                  </a:lnTo>
                  <a:lnTo>
                    <a:pt x="3144" y="469"/>
                  </a:lnTo>
                  <a:lnTo>
                    <a:pt x="3124" y="481"/>
                  </a:lnTo>
                  <a:lnTo>
                    <a:pt x="3107" y="493"/>
                  </a:lnTo>
                  <a:lnTo>
                    <a:pt x="3088" y="507"/>
                  </a:lnTo>
                  <a:lnTo>
                    <a:pt x="3071" y="522"/>
                  </a:lnTo>
                  <a:lnTo>
                    <a:pt x="3053" y="537"/>
                  </a:lnTo>
                  <a:lnTo>
                    <a:pt x="3036" y="555"/>
                  </a:lnTo>
                  <a:lnTo>
                    <a:pt x="3020" y="574"/>
                  </a:lnTo>
                  <a:lnTo>
                    <a:pt x="3005" y="594"/>
                  </a:lnTo>
                  <a:lnTo>
                    <a:pt x="2990" y="614"/>
                  </a:lnTo>
                  <a:lnTo>
                    <a:pt x="2978" y="635"/>
                  </a:lnTo>
                  <a:lnTo>
                    <a:pt x="2966" y="656"/>
                  </a:lnTo>
                  <a:lnTo>
                    <a:pt x="2955" y="677"/>
                  </a:lnTo>
                  <a:lnTo>
                    <a:pt x="2946" y="700"/>
                  </a:lnTo>
                  <a:lnTo>
                    <a:pt x="2939" y="722"/>
                  </a:lnTo>
                  <a:lnTo>
                    <a:pt x="2933" y="746"/>
                  </a:lnTo>
                  <a:lnTo>
                    <a:pt x="2926" y="768"/>
                  </a:lnTo>
                  <a:lnTo>
                    <a:pt x="2923" y="792"/>
                  </a:lnTo>
                  <a:lnTo>
                    <a:pt x="2920" y="815"/>
                  </a:lnTo>
                  <a:lnTo>
                    <a:pt x="2918" y="839"/>
                  </a:lnTo>
                  <a:lnTo>
                    <a:pt x="2918" y="863"/>
                  </a:lnTo>
                  <a:lnTo>
                    <a:pt x="2919" y="886"/>
                  </a:lnTo>
                  <a:lnTo>
                    <a:pt x="2409" y="665"/>
                  </a:lnTo>
                  <a:lnTo>
                    <a:pt x="238" y="1605"/>
                  </a:lnTo>
                  <a:close/>
                  <a:moveTo>
                    <a:pt x="3194" y="1376"/>
                  </a:moveTo>
                  <a:lnTo>
                    <a:pt x="3194" y="1376"/>
                  </a:lnTo>
                  <a:lnTo>
                    <a:pt x="3170" y="1368"/>
                  </a:lnTo>
                  <a:lnTo>
                    <a:pt x="3148" y="1358"/>
                  </a:lnTo>
                  <a:lnTo>
                    <a:pt x="3126" y="1348"/>
                  </a:lnTo>
                  <a:lnTo>
                    <a:pt x="3103" y="1337"/>
                  </a:lnTo>
                  <a:lnTo>
                    <a:pt x="2447" y="1054"/>
                  </a:lnTo>
                  <a:lnTo>
                    <a:pt x="2526" y="871"/>
                  </a:lnTo>
                  <a:lnTo>
                    <a:pt x="3864" y="1447"/>
                  </a:lnTo>
                  <a:lnTo>
                    <a:pt x="3785" y="1630"/>
                  </a:lnTo>
                  <a:lnTo>
                    <a:pt x="3194" y="1376"/>
                  </a:lnTo>
                  <a:close/>
                  <a:moveTo>
                    <a:pt x="3139" y="619"/>
                  </a:moveTo>
                  <a:lnTo>
                    <a:pt x="3139" y="619"/>
                  </a:lnTo>
                  <a:lnTo>
                    <a:pt x="3152" y="608"/>
                  </a:lnTo>
                  <a:lnTo>
                    <a:pt x="3164" y="598"/>
                  </a:lnTo>
                  <a:lnTo>
                    <a:pt x="3178" y="588"/>
                  </a:lnTo>
                  <a:lnTo>
                    <a:pt x="3192" y="578"/>
                  </a:lnTo>
                  <a:lnTo>
                    <a:pt x="3205" y="570"/>
                  </a:lnTo>
                  <a:lnTo>
                    <a:pt x="3219" y="561"/>
                  </a:lnTo>
                  <a:lnTo>
                    <a:pt x="3234" y="555"/>
                  </a:lnTo>
                  <a:lnTo>
                    <a:pt x="3249" y="549"/>
                  </a:lnTo>
                  <a:lnTo>
                    <a:pt x="3264" y="544"/>
                  </a:lnTo>
                  <a:lnTo>
                    <a:pt x="3279" y="539"/>
                  </a:lnTo>
                  <a:lnTo>
                    <a:pt x="3295" y="535"/>
                  </a:lnTo>
                  <a:lnTo>
                    <a:pt x="3310" y="532"/>
                  </a:lnTo>
                  <a:lnTo>
                    <a:pt x="3326" y="529"/>
                  </a:lnTo>
                  <a:lnTo>
                    <a:pt x="3341" y="528"/>
                  </a:lnTo>
                  <a:lnTo>
                    <a:pt x="3357" y="528"/>
                  </a:lnTo>
                  <a:lnTo>
                    <a:pt x="3372" y="527"/>
                  </a:lnTo>
                  <a:lnTo>
                    <a:pt x="3388" y="528"/>
                  </a:lnTo>
                  <a:lnTo>
                    <a:pt x="3404" y="529"/>
                  </a:lnTo>
                  <a:lnTo>
                    <a:pt x="3419" y="532"/>
                  </a:lnTo>
                  <a:lnTo>
                    <a:pt x="3436" y="534"/>
                  </a:lnTo>
                  <a:lnTo>
                    <a:pt x="3451" y="538"/>
                  </a:lnTo>
                  <a:lnTo>
                    <a:pt x="3465" y="543"/>
                  </a:lnTo>
                  <a:lnTo>
                    <a:pt x="3480" y="548"/>
                  </a:lnTo>
                  <a:lnTo>
                    <a:pt x="3495" y="553"/>
                  </a:lnTo>
                  <a:lnTo>
                    <a:pt x="3510" y="560"/>
                  </a:lnTo>
                  <a:lnTo>
                    <a:pt x="3524" y="568"/>
                  </a:lnTo>
                  <a:lnTo>
                    <a:pt x="3539" y="575"/>
                  </a:lnTo>
                  <a:lnTo>
                    <a:pt x="3553" y="584"/>
                  </a:lnTo>
                  <a:lnTo>
                    <a:pt x="3565" y="594"/>
                  </a:lnTo>
                  <a:lnTo>
                    <a:pt x="3579" y="604"/>
                  </a:lnTo>
                  <a:lnTo>
                    <a:pt x="3591" y="615"/>
                  </a:lnTo>
                  <a:lnTo>
                    <a:pt x="3602" y="627"/>
                  </a:lnTo>
                  <a:lnTo>
                    <a:pt x="3207" y="1010"/>
                  </a:lnTo>
                  <a:lnTo>
                    <a:pt x="3051" y="945"/>
                  </a:lnTo>
                  <a:lnTo>
                    <a:pt x="3046" y="924"/>
                  </a:lnTo>
                  <a:lnTo>
                    <a:pt x="3042" y="903"/>
                  </a:lnTo>
                  <a:lnTo>
                    <a:pt x="3040" y="880"/>
                  </a:lnTo>
                  <a:lnTo>
                    <a:pt x="3039" y="859"/>
                  </a:lnTo>
                  <a:lnTo>
                    <a:pt x="3040" y="837"/>
                  </a:lnTo>
                  <a:lnTo>
                    <a:pt x="3041" y="815"/>
                  </a:lnTo>
                  <a:lnTo>
                    <a:pt x="3045" y="794"/>
                  </a:lnTo>
                  <a:lnTo>
                    <a:pt x="3050" y="772"/>
                  </a:lnTo>
                  <a:lnTo>
                    <a:pt x="3056" y="752"/>
                  </a:lnTo>
                  <a:lnTo>
                    <a:pt x="3063" y="731"/>
                  </a:lnTo>
                  <a:lnTo>
                    <a:pt x="3072" y="711"/>
                  </a:lnTo>
                  <a:lnTo>
                    <a:pt x="3083" y="691"/>
                  </a:lnTo>
                  <a:lnTo>
                    <a:pt x="3095" y="672"/>
                  </a:lnTo>
                  <a:lnTo>
                    <a:pt x="3108" y="654"/>
                  </a:lnTo>
                  <a:lnTo>
                    <a:pt x="3123" y="636"/>
                  </a:lnTo>
                  <a:lnTo>
                    <a:pt x="3139" y="619"/>
                  </a:lnTo>
                  <a:close/>
                  <a:moveTo>
                    <a:pt x="3693" y="828"/>
                  </a:moveTo>
                  <a:lnTo>
                    <a:pt x="3414" y="1098"/>
                  </a:lnTo>
                  <a:lnTo>
                    <a:pt x="3310" y="1053"/>
                  </a:lnTo>
                  <a:lnTo>
                    <a:pt x="3662" y="712"/>
                  </a:lnTo>
                  <a:lnTo>
                    <a:pt x="3675" y="741"/>
                  </a:lnTo>
                  <a:lnTo>
                    <a:pt x="3683" y="769"/>
                  </a:lnTo>
                  <a:lnTo>
                    <a:pt x="3690" y="798"/>
                  </a:lnTo>
                  <a:lnTo>
                    <a:pt x="3693" y="828"/>
                  </a:lnTo>
                  <a:close/>
                  <a:moveTo>
                    <a:pt x="2628" y="2374"/>
                  </a:moveTo>
                  <a:lnTo>
                    <a:pt x="2134" y="2868"/>
                  </a:lnTo>
                  <a:lnTo>
                    <a:pt x="2134" y="4108"/>
                  </a:lnTo>
                  <a:lnTo>
                    <a:pt x="2628" y="4108"/>
                  </a:lnTo>
                  <a:lnTo>
                    <a:pt x="2628" y="2374"/>
                  </a:lnTo>
                  <a:close/>
                  <a:moveTo>
                    <a:pt x="2034" y="2374"/>
                  </a:moveTo>
                  <a:lnTo>
                    <a:pt x="1964" y="2374"/>
                  </a:lnTo>
                  <a:lnTo>
                    <a:pt x="1949" y="2373"/>
                  </a:lnTo>
                  <a:lnTo>
                    <a:pt x="1934" y="2368"/>
                  </a:lnTo>
                  <a:lnTo>
                    <a:pt x="1922" y="2362"/>
                  </a:lnTo>
                  <a:lnTo>
                    <a:pt x="1909" y="2354"/>
                  </a:lnTo>
                  <a:lnTo>
                    <a:pt x="1901" y="2344"/>
                  </a:lnTo>
                  <a:lnTo>
                    <a:pt x="1893" y="2333"/>
                  </a:lnTo>
                  <a:lnTo>
                    <a:pt x="1891" y="2327"/>
                  </a:lnTo>
                  <a:lnTo>
                    <a:pt x="1888" y="2319"/>
                  </a:lnTo>
                  <a:lnTo>
                    <a:pt x="1887" y="2313"/>
                  </a:lnTo>
                  <a:lnTo>
                    <a:pt x="1887" y="2306"/>
                  </a:lnTo>
                  <a:lnTo>
                    <a:pt x="1887" y="2012"/>
                  </a:lnTo>
                  <a:lnTo>
                    <a:pt x="2034" y="2012"/>
                  </a:lnTo>
                  <a:lnTo>
                    <a:pt x="2727" y="2012"/>
                  </a:lnTo>
                  <a:lnTo>
                    <a:pt x="2873" y="2012"/>
                  </a:lnTo>
                  <a:lnTo>
                    <a:pt x="2873" y="2306"/>
                  </a:lnTo>
                  <a:lnTo>
                    <a:pt x="2873" y="2313"/>
                  </a:lnTo>
                  <a:lnTo>
                    <a:pt x="2872" y="2319"/>
                  </a:lnTo>
                  <a:lnTo>
                    <a:pt x="2870" y="2327"/>
                  </a:lnTo>
                  <a:lnTo>
                    <a:pt x="2867" y="2333"/>
                  </a:lnTo>
                  <a:lnTo>
                    <a:pt x="2860" y="2344"/>
                  </a:lnTo>
                  <a:lnTo>
                    <a:pt x="2851" y="2354"/>
                  </a:lnTo>
                  <a:lnTo>
                    <a:pt x="2839" y="2362"/>
                  </a:lnTo>
                  <a:lnTo>
                    <a:pt x="2826" y="2368"/>
                  </a:lnTo>
                  <a:lnTo>
                    <a:pt x="2812" y="2373"/>
                  </a:lnTo>
                  <a:lnTo>
                    <a:pt x="2796" y="2374"/>
                  </a:lnTo>
                  <a:lnTo>
                    <a:pt x="2727" y="2374"/>
                  </a:lnTo>
                  <a:lnTo>
                    <a:pt x="2727" y="4108"/>
                  </a:lnTo>
                  <a:lnTo>
                    <a:pt x="3347" y="4108"/>
                  </a:lnTo>
                  <a:lnTo>
                    <a:pt x="3347" y="2374"/>
                  </a:lnTo>
                  <a:lnTo>
                    <a:pt x="3279" y="2374"/>
                  </a:lnTo>
                  <a:lnTo>
                    <a:pt x="3263" y="2373"/>
                  </a:lnTo>
                  <a:lnTo>
                    <a:pt x="3249" y="2368"/>
                  </a:lnTo>
                  <a:lnTo>
                    <a:pt x="3235" y="2362"/>
                  </a:lnTo>
                  <a:lnTo>
                    <a:pt x="3224" y="2354"/>
                  </a:lnTo>
                  <a:lnTo>
                    <a:pt x="3214" y="2344"/>
                  </a:lnTo>
                  <a:lnTo>
                    <a:pt x="3208" y="2333"/>
                  </a:lnTo>
                  <a:lnTo>
                    <a:pt x="3204" y="2327"/>
                  </a:lnTo>
                  <a:lnTo>
                    <a:pt x="3203" y="2319"/>
                  </a:lnTo>
                  <a:lnTo>
                    <a:pt x="3202" y="2313"/>
                  </a:lnTo>
                  <a:lnTo>
                    <a:pt x="3202" y="2306"/>
                  </a:lnTo>
                  <a:lnTo>
                    <a:pt x="3202" y="2012"/>
                  </a:lnTo>
                  <a:lnTo>
                    <a:pt x="3347" y="2012"/>
                  </a:lnTo>
                  <a:lnTo>
                    <a:pt x="4097" y="2012"/>
                  </a:lnTo>
                  <a:lnTo>
                    <a:pt x="4342" y="2012"/>
                  </a:lnTo>
                  <a:lnTo>
                    <a:pt x="4342" y="2292"/>
                  </a:lnTo>
                  <a:lnTo>
                    <a:pt x="4342" y="2311"/>
                  </a:lnTo>
                  <a:lnTo>
                    <a:pt x="4338" y="2329"/>
                  </a:lnTo>
                  <a:lnTo>
                    <a:pt x="4333" y="2345"/>
                  </a:lnTo>
                  <a:lnTo>
                    <a:pt x="4327" y="2362"/>
                  </a:lnTo>
                  <a:lnTo>
                    <a:pt x="4318" y="2377"/>
                  </a:lnTo>
                  <a:lnTo>
                    <a:pt x="4308" y="2390"/>
                  </a:lnTo>
                  <a:lnTo>
                    <a:pt x="4297" y="2403"/>
                  </a:lnTo>
                  <a:lnTo>
                    <a:pt x="4286" y="2414"/>
                  </a:lnTo>
                  <a:lnTo>
                    <a:pt x="4272" y="2425"/>
                  </a:lnTo>
                  <a:lnTo>
                    <a:pt x="4258" y="2434"/>
                  </a:lnTo>
                  <a:lnTo>
                    <a:pt x="4243" y="2441"/>
                  </a:lnTo>
                  <a:lnTo>
                    <a:pt x="4229" y="2447"/>
                  </a:lnTo>
                  <a:lnTo>
                    <a:pt x="4212" y="2452"/>
                  </a:lnTo>
                  <a:lnTo>
                    <a:pt x="4197" y="2456"/>
                  </a:lnTo>
                  <a:lnTo>
                    <a:pt x="4181" y="2457"/>
                  </a:lnTo>
                  <a:lnTo>
                    <a:pt x="4165" y="2459"/>
                  </a:lnTo>
                  <a:lnTo>
                    <a:pt x="4146" y="2459"/>
                  </a:lnTo>
                  <a:lnTo>
                    <a:pt x="4146" y="4108"/>
                  </a:lnTo>
                  <a:lnTo>
                    <a:pt x="4512" y="4108"/>
                  </a:lnTo>
                  <a:lnTo>
                    <a:pt x="4512" y="4464"/>
                  </a:lnTo>
                  <a:lnTo>
                    <a:pt x="4413" y="4464"/>
                  </a:lnTo>
                  <a:lnTo>
                    <a:pt x="4413" y="4208"/>
                  </a:lnTo>
                  <a:lnTo>
                    <a:pt x="4097" y="4208"/>
                  </a:lnTo>
                  <a:lnTo>
                    <a:pt x="3347" y="4208"/>
                  </a:lnTo>
                  <a:lnTo>
                    <a:pt x="2727" y="4208"/>
                  </a:lnTo>
                  <a:lnTo>
                    <a:pt x="2034" y="4208"/>
                  </a:lnTo>
                  <a:lnTo>
                    <a:pt x="1413" y="4208"/>
                  </a:lnTo>
                  <a:lnTo>
                    <a:pt x="667" y="4208"/>
                  </a:lnTo>
                  <a:lnTo>
                    <a:pt x="413" y="4208"/>
                  </a:lnTo>
                  <a:lnTo>
                    <a:pt x="413" y="4464"/>
                  </a:lnTo>
                  <a:lnTo>
                    <a:pt x="314" y="4464"/>
                  </a:lnTo>
                  <a:lnTo>
                    <a:pt x="314" y="4108"/>
                  </a:lnTo>
                  <a:lnTo>
                    <a:pt x="617" y="4108"/>
                  </a:lnTo>
                  <a:lnTo>
                    <a:pt x="617" y="2459"/>
                  </a:lnTo>
                  <a:lnTo>
                    <a:pt x="599" y="2459"/>
                  </a:lnTo>
                  <a:lnTo>
                    <a:pt x="583" y="2457"/>
                  </a:lnTo>
                  <a:lnTo>
                    <a:pt x="566" y="2456"/>
                  </a:lnTo>
                  <a:lnTo>
                    <a:pt x="551" y="2452"/>
                  </a:lnTo>
                  <a:lnTo>
                    <a:pt x="535" y="2447"/>
                  </a:lnTo>
                  <a:lnTo>
                    <a:pt x="520" y="2441"/>
                  </a:lnTo>
                  <a:lnTo>
                    <a:pt x="505" y="2434"/>
                  </a:lnTo>
                  <a:lnTo>
                    <a:pt x="492" y="2425"/>
                  </a:lnTo>
                  <a:lnTo>
                    <a:pt x="478" y="2414"/>
                  </a:lnTo>
                  <a:lnTo>
                    <a:pt x="466" y="2403"/>
                  </a:lnTo>
                  <a:lnTo>
                    <a:pt x="456" y="2390"/>
                  </a:lnTo>
                  <a:lnTo>
                    <a:pt x="446" y="2377"/>
                  </a:lnTo>
                  <a:lnTo>
                    <a:pt x="437" y="2362"/>
                  </a:lnTo>
                  <a:lnTo>
                    <a:pt x="431" y="2345"/>
                  </a:lnTo>
                  <a:lnTo>
                    <a:pt x="426" y="2329"/>
                  </a:lnTo>
                  <a:lnTo>
                    <a:pt x="422" y="2311"/>
                  </a:lnTo>
                  <a:lnTo>
                    <a:pt x="421" y="2292"/>
                  </a:lnTo>
                  <a:lnTo>
                    <a:pt x="421" y="2012"/>
                  </a:lnTo>
                  <a:lnTo>
                    <a:pt x="667" y="2012"/>
                  </a:lnTo>
                  <a:lnTo>
                    <a:pt x="1413" y="2012"/>
                  </a:lnTo>
                  <a:lnTo>
                    <a:pt x="1560" y="2012"/>
                  </a:lnTo>
                  <a:lnTo>
                    <a:pt x="1560" y="2306"/>
                  </a:lnTo>
                  <a:lnTo>
                    <a:pt x="1560" y="2313"/>
                  </a:lnTo>
                  <a:lnTo>
                    <a:pt x="1558" y="2319"/>
                  </a:lnTo>
                  <a:lnTo>
                    <a:pt x="1556" y="2327"/>
                  </a:lnTo>
                  <a:lnTo>
                    <a:pt x="1553" y="2333"/>
                  </a:lnTo>
                  <a:lnTo>
                    <a:pt x="1546" y="2344"/>
                  </a:lnTo>
                  <a:lnTo>
                    <a:pt x="1537" y="2354"/>
                  </a:lnTo>
                  <a:lnTo>
                    <a:pt x="1525" y="2362"/>
                  </a:lnTo>
                  <a:lnTo>
                    <a:pt x="1512" y="2368"/>
                  </a:lnTo>
                  <a:lnTo>
                    <a:pt x="1497" y="2373"/>
                  </a:lnTo>
                  <a:lnTo>
                    <a:pt x="1481" y="2374"/>
                  </a:lnTo>
                  <a:lnTo>
                    <a:pt x="1413" y="2374"/>
                  </a:lnTo>
                  <a:lnTo>
                    <a:pt x="1413" y="4108"/>
                  </a:lnTo>
                  <a:lnTo>
                    <a:pt x="2034" y="4108"/>
                  </a:lnTo>
                  <a:lnTo>
                    <a:pt x="2034" y="2374"/>
                  </a:lnTo>
                  <a:close/>
                  <a:moveTo>
                    <a:pt x="1313" y="2386"/>
                  </a:moveTo>
                  <a:lnTo>
                    <a:pt x="817" y="2883"/>
                  </a:lnTo>
                  <a:lnTo>
                    <a:pt x="817" y="4108"/>
                  </a:lnTo>
                  <a:lnTo>
                    <a:pt x="1313" y="4108"/>
                  </a:lnTo>
                  <a:lnTo>
                    <a:pt x="1313" y="2386"/>
                  </a:lnTo>
                  <a:close/>
                  <a:moveTo>
                    <a:pt x="3947" y="4108"/>
                  </a:moveTo>
                  <a:lnTo>
                    <a:pt x="3947" y="2394"/>
                  </a:lnTo>
                  <a:lnTo>
                    <a:pt x="3447" y="2894"/>
                  </a:lnTo>
                  <a:lnTo>
                    <a:pt x="3447" y="4108"/>
                  </a:lnTo>
                  <a:lnTo>
                    <a:pt x="3947" y="4108"/>
                  </a:lnTo>
                  <a:close/>
                  <a:moveTo>
                    <a:pt x="97" y="4564"/>
                  </a:moveTo>
                  <a:lnTo>
                    <a:pt x="4729" y="4564"/>
                  </a:lnTo>
                  <a:lnTo>
                    <a:pt x="4729" y="4763"/>
                  </a:lnTo>
                  <a:lnTo>
                    <a:pt x="97" y="4763"/>
                  </a:lnTo>
                  <a:lnTo>
                    <a:pt x="97" y="4564"/>
                  </a:lnTo>
                  <a:close/>
                  <a:moveTo>
                    <a:pt x="4336" y="144"/>
                  </a:moveTo>
                  <a:lnTo>
                    <a:pt x="4336" y="144"/>
                  </a:lnTo>
                  <a:lnTo>
                    <a:pt x="4353" y="163"/>
                  </a:lnTo>
                  <a:lnTo>
                    <a:pt x="4368" y="182"/>
                  </a:lnTo>
                  <a:lnTo>
                    <a:pt x="4383" y="200"/>
                  </a:lnTo>
                  <a:lnTo>
                    <a:pt x="4395" y="220"/>
                  </a:lnTo>
                  <a:lnTo>
                    <a:pt x="4408" y="240"/>
                  </a:lnTo>
                  <a:lnTo>
                    <a:pt x="4419" y="261"/>
                  </a:lnTo>
                  <a:lnTo>
                    <a:pt x="4429" y="283"/>
                  </a:lnTo>
                  <a:lnTo>
                    <a:pt x="4438" y="304"/>
                  </a:lnTo>
                  <a:lnTo>
                    <a:pt x="4445" y="326"/>
                  </a:lnTo>
                  <a:lnTo>
                    <a:pt x="4453" y="347"/>
                  </a:lnTo>
                  <a:lnTo>
                    <a:pt x="4458" y="370"/>
                  </a:lnTo>
                  <a:lnTo>
                    <a:pt x="4463" y="392"/>
                  </a:lnTo>
                  <a:lnTo>
                    <a:pt x="4465" y="415"/>
                  </a:lnTo>
                  <a:lnTo>
                    <a:pt x="4468" y="438"/>
                  </a:lnTo>
                  <a:lnTo>
                    <a:pt x="4469" y="461"/>
                  </a:lnTo>
                  <a:lnTo>
                    <a:pt x="4469" y="483"/>
                  </a:lnTo>
                  <a:lnTo>
                    <a:pt x="4469" y="507"/>
                  </a:lnTo>
                  <a:lnTo>
                    <a:pt x="4466" y="529"/>
                  </a:lnTo>
                  <a:lnTo>
                    <a:pt x="4464" y="551"/>
                  </a:lnTo>
                  <a:lnTo>
                    <a:pt x="4459" y="574"/>
                  </a:lnTo>
                  <a:lnTo>
                    <a:pt x="4454" y="596"/>
                  </a:lnTo>
                  <a:lnTo>
                    <a:pt x="4448" y="619"/>
                  </a:lnTo>
                  <a:lnTo>
                    <a:pt x="4440" y="640"/>
                  </a:lnTo>
                  <a:lnTo>
                    <a:pt x="4431" y="661"/>
                  </a:lnTo>
                  <a:lnTo>
                    <a:pt x="4421" y="682"/>
                  </a:lnTo>
                  <a:lnTo>
                    <a:pt x="4411" y="703"/>
                  </a:lnTo>
                  <a:lnTo>
                    <a:pt x="4399" y="723"/>
                  </a:lnTo>
                  <a:lnTo>
                    <a:pt x="4387" y="743"/>
                  </a:lnTo>
                  <a:lnTo>
                    <a:pt x="4373" y="763"/>
                  </a:lnTo>
                  <a:lnTo>
                    <a:pt x="4358" y="782"/>
                  </a:lnTo>
                  <a:lnTo>
                    <a:pt x="4342" y="799"/>
                  </a:lnTo>
                  <a:lnTo>
                    <a:pt x="4324" y="817"/>
                  </a:lnTo>
                  <a:lnTo>
                    <a:pt x="4307" y="833"/>
                  </a:lnTo>
                  <a:lnTo>
                    <a:pt x="4290" y="848"/>
                  </a:lnTo>
                  <a:lnTo>
                    <a:pt x="4271" y="861"/>
                  </a:lnTo>
                  <a:lnTo>
                    <a:pt x="4252" y="874"/>
                  </a:lnTo>
                  <a:lnTo>
                    <a:pt x="4233" y="886"/>
                  </a:lnTo>
                  <a:lnTo>
                    <a:pt x="4214" y="898"/>
                  </a:lnTo>
                  <a:lnTo>
                    <a:pt x="4194" y="906"/>
                  </a:lnTo>
                  <a:lnTo>
                    <a:pt x="4172" y="915"/>
                  </a:lnTo>
                  <a:lnTo>
                    <a:pt x="4153" y="924"/>
                  </a:lnTo>
                  <a:lnTo>
                    <a:pt x="4131" y="930"/>
                  </a:lnTo>
                  <a:lnTo>
                    <a:pt x="4110" y="936"/>
                  </a:lnTo>
                  <a:lnTo>
                    <a:pt x="4089" y="941"/>
                  </a:lnTo>
                  <a:lnTo>
                    <a:pt x="4067" y="945"/>
                  </a:lnTo>
                  <a:lnTo>
                    <a:pt x="4046" y="947"/>
                  </a:lnTo>
                  <a:lnTo>
                    <a:pt x="4023" y="950"/>
                  </a:lnTo>
                  <a:lnTo>
                    <a:pt x="4002" y="950"/>
                  </a:lnTo>
                  <a:lnTo>
                    <a:pt x="4006" y="925"/>
                  </a:lnTo>
                  <a:lnTo>
                    <a:pt x="4007" y="900"/>
                  </a:lnTo>
                  <a:lnTo>
                    <a:pt x="4008" y="875"/>
                  </a:lnTo>
                  <a:lnTo>
                    <a:pt x="4008" y="850"/>
                  </a:lnTo>
                  <a:lnTo>
                    <a:pt x="4042" y="848"/>
                  </a:lnTo>
                  <a:lnTo>
                    <a:pt x="4059" y="845"/>
                  </a:lnTo>
                  <a:lnTo>
                    <a:pt x="4075" y="842"/>
                  </a:lnTo>
                  <a:lnTo>
                    <a:pt x="4092" y="838"/>
                  </a:lnTo>
                  <a:lnTo>
                    <a:pt x="4108" y="833"/>
                  </a:lnTo>
                  <a:lnTo>
                    <a:pt x="4124" y="828"/>
                  </a:lnTo>
                  <a:lnTo>
                    <a:pt x="4139" y="822"/>
                  </a:lnTo>
                  <a:lnTo>
                    <a:pt x="4155" y="814"/>
                  </a:lnTo>
                  <a:lnTo>
                    <a:pt x="4170" y="807"/>
                  </a:lnTo>
                  <a:lnTo>
                    <a:pt x="4185" y="799"/>
                  </a:lnTo>
                  <a:lnTo>
                    <a:pt x="4200" y="789"/>
                  </a:lnTo>
                  <a:lnTo>
                    <a:pt x="4215" y="779"/>
                  </a:lnTo>
                  <a:lnTo>
                    <a:pt x="4229" y="769"/>
                  </a:lnTo>
                  <a:lnTo>
                    <a:pt x="4242" y="757"/>
                  </a:lnTo>
                  <a:lnTo>
                    <a:pt x="4255" y="746"/>
                  </a:lnTo>
                  <a:lnTo>
                    <a:pt x="4268" y="732"/>
                  </a:lnTo>
                  <a:lnTo>
                    <a:pt x="4281" y="717"/>
                  </a:lnTo>
                  <a:lnTo>
                    <a:pt x="4293" y="702"/>
                  </a:lnTo>
                  <a:lnTo>
                    <a:pt x="4304" y="687"/>
                  </a:lnTo>
                  <a:lnTo>
                    <a:pt x="4314" y="671"/>
                  </a:lnTo>
                  <a:lnTo>
                    <a:pt x="4323" y="656"/>
                  </a:lnTo>
                  <a:lnTo>
                    <a:pt x="4332" y="639"/>
                  </a:lnTo>
                  <a:lnTo>
                    <a:pt x="4339" y="622"/>
                  </a:lnTo>
                  <a:lnTo>
                    <a:pt x="4347" y="605"/>
                  </a:lnTo>
                  <a:lnTo>
                    <a:pt x="4352" y="589"/>
                  </a:lnTo>
                  <a:lnTo>
                    <a:pt x="4358" y="571"/>
                  </a:lnTo>
                  <a:lnTo>
                    <a:pt x="4362" y="553"/>
                  </a:lnTo>
                  <a:lnTo>
                    <a:pt x="4365" y="535"/>
                  </a:lnTo>
                  <a:lnTo>
                    <a:pt x="4368" y="518"/>
                  </a:lnTo>
                  <a:lnTo>
                    <a:pt x="4369" y="499"/>
                  </a:lnTo>
                  <a:lnTo>
                    <a:pt x="4369" y="482"/>
                  </a:lnTo>
                  <a:lnTo>
                    <a:pt x="4369" y="463"/>
                  </a:lnTo>
                  <a:lnTo>
                    <a:pt x="4369" y="446"/>
                  </a:lnTo>
                  <a:lnTo>
                    <a:pt x="4367" y="428"/>
                  </a:lnTo>
                  <a:lnTo>
                    <a:pt x="4364" y="410"/>
                  </a:lnTo>
                  <a:lnTo>
                    <a:pt x="4360" y="392"/>
                  </a:lnTo>
                  <a:lnTo>
                    <a:pt x="4355" y="375"/>
                  </a:lnTo>
                  <a:lnTo>
                    <a:pt x="4350" y="357"/>
                  </a:lnTo>
                  <a:lnTo>
                    <a:pt x="4344" y="340"/>
                  </a:lnTo>
                  <a:lnTo>
                    <a:pt x="4338" y="322"/>
                  </a:lnTo>
                  <a:lnTo>
                    <a:pt x="4329" y="306"/>
                  </a:lnTo>
                  <a:lnTo>
                    <a:pt x="4321" y="290"/>
                  </a:lnTo>
                  <a:lnTo>
                    <a:pt x="4312" y="274"/>
                  </a:lnTo>
                  <a:lnTo>
                    <a:pt x="4301" y="258"/>
                  </a:lnTo>
                  <a:lnTo>
                    <a:pt x="4290" y="243"/>
                  </a:lnTo>
                  <a:lnTo>
                    <a:pt x="4277" y="228"/>
                  </a:lnTo>
                  <a:lnTo>
                    <a:pt x="4265" y="214"/>
                  </a:lnTo>
                  <a:lnTo>
                    <a:pt x="4251" y="200"/>
                  </a:lnTo>
                  <a:lnTo>
                    <a:pt x="4236" y="188"/>
                  </a:lnTo>
                  <a:lnTo>
                    <a:pt x="4221" y="176"/>
                  </a:lnTo>
                  <a:lnTo>
                    <a:pt x="4206" y="164"/>
                  </a:lnTo>
                  <a:lnTo>
                    <a:pt x="4191" y="154"/>
                  </a:lnTo>
                  <a:lnTo>
                    <a:pt x="4175" y="146"/>
                  </a:lnTo>
                  <a:lnTo>
                    <a:pt x="4159" y="137"/>
                  </a:lnTo>
                  <a:lnTo>
                    <a:pt x="4141" y="129"/>
                  </a:lnTo>
                  <a:lnTo>
                    <a:pt x="4124" y="123"/>
                  </a:lnTo>
                  <a:lnTo>
                    <a:pt x="4108" y="117"/>
                  </a:lnTo>
                  <a:lnTo>
                    <a:pt x="4090" y="112"/>
                  </a:lnTo>
                  <a:lnTo>
                    <a:pt x="4072" y="107"/>
                  </a:lnTo>
                  <a:lnTo>
                    <a:pt x="4054" y="105"/>
                  </a:lnTo>
                  <a:lnTo>
                    <a:pt x="4037" y="102"/>
                  </a:lnTo>
                  <a:lnTo>
                    <a:pt x="4018" y="100"/>
                  </a:lnTo>
                  <a:lnTo>
                    <a:pt x="4001" y="100"/>
                  </a:lnTo>
                  <a:lnTo>
                    <a:pt x="3982" y="100"/>
                  </a:lnTo>
                  <a:lnTo>
                    <a:pt x="3965" y="101"/>
                  </a:lnTo>
                  <a:lnTo>
                    <a:pt x="3947" y="102"/>
                  </a:lnTo>
                  <a:lnTo>
                    <a:pt x="3929" y="105"/>
                  </a:lnTo>
                  <a:lnTo>
                    <a:pt x="3911" y="108"/>
                  </a:lnTo>
                  <a:lnTo>
                    <a:pt x="3894" y="113"/>
                  </a:lnTo>
                  <a:lnTo>
                    <a:pt x="3876" y="118"/>
                  </a:lnTo>
                  <a:lnTo>
                    <a:pt x="3859" y="124"/>
                  </a:lnTo>
                  <a:lnTo>
                    <a:pt x="3841" y="132"/>
                  </a:lnTo>
                  <a:lnTo>
                    <a:pt x="3825" y="139"/>
                  </a:lnTo>
                  <a:lnTo>
                    <a:pt x="3809" y="148"/>
                  </a:lnTo>
                  <a:lnTo>
                    <a:pt x="3793" y="158"/>
                  </a:lnTo>
                  <a:lnTo>
                    <a:pt x="3778" y="168"/>
                  </a:lnTo>
                  <a:lnTo>
                    <a:pt x="3762" y="179"/>
                  </a:lnTo>
                  <a:lnTo>
                    <a:pt x="3747" y="192"/>
                  </a:lnTo>
                  <a:lnTo>
                    <a:pt x="3733" y="205"/>
                  </a:lnTo>
                  <a:lnTo>
                    <a:pt x="3714" y="224"/>
                  </a:lnTo>
                  <a:lnTo>
                    <a:pt x="3698" y="244"/>
                  </a:lnTo>
                  <a:lnTo>
                    <a:pt x="3682" y="265"/>
                  </a:lnTo>
                  <a:lnTo>
                    <a:pt x="3668" y="286"/>
                  </a:lnTo>
                  <a:lnTo>
                    <a:pt x="3646" y="275"/>
                  </a:lnTo>
                  <a:lnTo>
                    <a:pt x="3624" y="265"/>
                  </a:lnTo>
                  <a:lnTo>
                    <a:pt x="3601" y="255"/>
                  </a:lnTo>
                  <a:lnTo>
                    <a:pt x="3577" y="246"/>
                  </a:lnTo>
                  <a:lnTo>
                    <a:pt x="3595" y="217"/>
                  </a:lnTo>
                  <a:lnTo>
                    <a:pt x="3616" y="187"/>
                  </a:lnTo>
                  <a:lnTo>
                    <a:pt x="3638" y="159"/>
                  </a:lnTo>
                  <a:lnTo>
                    <a:pt x="3663" y="133"/>
                  </a:lnTo>
                  <a:lnTo>
                    <a:pt x="3682" y="117"/>
                  </a:lnTo>
                  <a:lnTo>
                    <a:pt x="3701" y="101"/>
                  </a:lnTo>
                  <a:lnTo>
                    <a:pt x="3719" y="87"/>
                  </a:lnTo>
                  <a:lnTo>
                    <a:pt x="3739" y="73"/>
                  </a:lnTo>
                  <a:lnTo>
                    <a:pt x="3759" y="61"/>
                  </a:lnTo>
                  <a:lnTo>
                    <a:pt x="3780" y="50"/>
                  </a:lnTo>
                  <a:lnTo>
                    <a:pt x="3802" y="40"/>
                  </a:lnTo>
                  <a:lnTo>
                    <a:pt x="3823" y="31"/>
                  </a:lnTo>
                  <a:lnTo>
                    <a:pt x="3845" y="24"/>
                  </a:lnTo>
                  <a:lnTo>
                    <a:pt x="3866" y="17"/>
                  </a:lnTo>
                  <a:lnTo>
                    <a:pt x="3889" y="11"/>
                  </a:lnTo>
                  <a:lnTo>
                    <a:pt x="3911" y="7"/>
                  </a:lnTo>
                  <a:lnTo>
                    <a:pt x="3933" y="4"/>
                  </a:lnTo>
                  <a:lnTo>
                    <a:pt x="3957" y="1"/>
                  </a:lnTo>
                  <a:lnTo>
                    <a:pt x="3980" y="0"/>
                  </a:lnTo>
                  <a:lnTo>
                    <a:pt x="4002" y="0"/>
                  </a:lnTo>
                  <a:lnTo>
                    <a:pt x="4026" y="1"/>
                  </a:lnTo>
                  <a:lnTo>
                    <a:pt x="4048" y="2"/>
                  </a:lnTo>
                  <a:lnTo>
                    <a:pt x="4070" y="6"/>
                  </a:lnTo>
                  <a:lnTo>
                    <a:pt x="4093" y="10"/>
                  </a:lnTo>
                  <a:lnTo>
                    <a:pt x="4115" y="15"/>
                  </a:lnTo>
                  <a:lnTo>
                    <a:pt x="4138" y="22"/>
                  </a:lnTo>
                  <a:lnTo>
                    <a:pt x="4159" y="29"/>
                  </a:lnTo>
                  <a:lnTo>
                    <a:pt x="4180" y="37"/>
                  </a:lnTo>
                  <a:lnTo>
                    <a:pt x="4201" y="47"/>
                  </a:lnTo>
                  <a:lnTo>
                    <a:pt x="4222" y="59"/>
                  </a:lnTo>
                  <a:lnTo>
                    <a:pt x="4242" y="70"/>
                  </a:lnTo>
                  <a:lnTo>
                    <a:pt x="4262" y="82"/>
                  </a:lnTo>
                  <a:lnTo>
                    <a:pt x="4282" y="97"/>
                  </a:lnTo>
                  <a:lnTo>
                    <a:pt x="4301" y="112"/>
                  </a:lnTo>
                  <a:lnTo>
                    <a:pt x="4318" y="128"/>
                  </a:lnTo>
                  <a:lnTo>
                    <a:pt x="4336" y="144"/>
                  </a:lnTo>
                  <a:close/>
                  <a:moveTo>
                    <a:pt x="3803" y="269"/>
                  </a:moveTo>
                  <a:lnTo>
                    <a:pt x="3803" y="269"/>
                  </a:lnTo>
                  <a:lnTo>
                    <a:pt x="3825" y="250"/>
                  </a:lnTo>
                  <a:lnTo>
                    <a:pt x="3848" y="234"/>
                  </a:lnTo>
                  <a:lnTo>
                    <a:pt x="3873" y="220"/>
                  </a:lnTo>
                  <a:lnTo>
                    <a:pt x="3897" y="209"/>
                  </a:lnTo>
                  <a:lnTo>
                    <a:pt x="3924" y="200"/>
                  </a:lnTo>
                  <a:lnTo>
                    <a:pt x="3950" y="194"/>
                  </a:lnTo>
                  <a:lnTo>
                    <a:pt x="3977" y="192"/>
                  </a:lnTo>
                  <a:lnTo>
                    <a:pt x="4003" y="190"/>
                  </a:lnTo>
                  <a:lnTo>
                    <a:pt x="4031" y="192"/>
                  </a:lnTo>
                  <a:lnTo>
                    <a:pt x="4058" y="197"/>
                  </a:lnTo>
                  <a:lnTo>
                    <a:pt x="4084" y="203"/>
                  </a:lnTo>
                  <a:lnTo>
                    <a:pt x="4109" y="213"/>
                  </a:lnTo>
                  <a:lnTo>
                    <a:pt x="4134" y="225"/>
                  </a:lnTo>
                  <a:lnTo>
                    <a:pt x="4158" y="239"/>
                  </a:lnTo>
                  <a:lnTo>
                    <a:pt x="4180" y="256"/>
                  </a:lnTo>
                  <a:lnTo>
                    <a:pt x="4201" y="276"/>
                  </a:lnTo>
                  <a:lnTo>
                    <a:pt x="3927" y="542"/>
                  </a:lnTo>
                  <a:lnTo>
                    <a:pt x="3906" y="505"/>
                  </a:lnTo>
                  <a:lnTo>
                    <a:pt x="3882" y="472"/>
                  </a:lnTo>
                  <a:lnTo>
                    <a:pt x="3856" y="438"/>
                  </a:lnTo>
                  <a:lnTo>
                    <a:pt x="3828" y="407"/>
                  </a:lnTo>
                  <a:lnTo>
                    <a:pt x="3809" y="388"/>
                  </a:lnTo>
                  <a:lnTo>
                    <a:pt x="3790" y="371"/>
                  </a:lnTo>
                  <a:lnTo>
                    <a:pt x="3770" y="355"/>
                  </a:lnTo>
                  <a:lnTo>
                    <a:pt x="3751" y="339"/>
                  </a:lnTo>
                  <a:lnTo>
                    <a:pt x="3762" y="320"/>
                  </a:lnTo>
                  <a:lnTo>
                    <a:pt x="3774" y="303"/>
                  </a:lnTo>
                  <a:lnTo>
                    <a:pt x="3788" y="285"/>
                  </a:lnTo>
                  <a:lnTo>
                    <a:pt x="3803" y="269"/>
                  </a:lnTo>
                  <a:close/>
                  <a:moveTo>
                    <a:pt x="4280" y="448"/>
                  </a:moveTo>
                  <a:lnTo>
                    <a:pt x="3996" y="723"/>
                  </a:lnTo>
                  <a:lnTo>
                    <a:pt x="3990" y="698"/>
                  </a:lnTo>
                  <a:lnTo>
                    <a:pt x="3983" y="673"/>
                  </a:lnTo>
                  <a:lnTo>
                    <a:pt x="3976" y="650"/>
                  </a:lnTo>
                  <a:lnTo>
                    <a:pt x="3967" y="626"/>
                  </a:lnTo>
                  <a:lnTo>
                    <a:pt x="4252" y="350"/>
                  </a:lnTo>
                  <a:lnTo>
                    <a:pt x="4263" y="373"/>
                  </a:lnTo>
                  <a:lnTo>
                    <a:pt x="4271" y="398"/>
                  </a:lnTo>
                  <a:lnTo>
                    <a:pt x="4276" y="423"/>
                  </a:lnTo>
                  <a:lnTo>
                    <a:pt x="4280" y="44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charset="0"/>
              </a:endParaRPr>
            </a:p>
          </p:txBody>
        </p:sp>
        <p:sp>
          <p:nvSpPr>
            <p:cNvPr id="38" name="TextBox 7"/>
            <p:cNvSpPr txBox="1">
              <a:spLocks noChangeArrowheads="1"/>
            </p:cNvSpPr>
            <p:nvPr/>
          </p:nvSpPr>
          <p:spPr bwMode="auto">
            <a:xfrm>
              <a:off x="2967207" y="2635532"/>
              <a:ext cx="1125693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dirty="0">
                  <a:solidFill>
                    <a:srgbClr val="808080"/>
                  </a:solidFill>
                  <a:latin typeface="+mn-lt"/>
                </a:rPr>
                <a:t>Кредитор (мы)</a:t>
              </a:r>
            </a:p>
          </p:txBody>
        </p:sp>
        <p:sp>
          <p:nvSpPr>
            <p:cNvPr id="39" name="TextBox 7"/>
            <p:cNvSpPr txBox="1">
              <a:spLocks noChangeArrowheads="1"/>
            </p:cNvSpPr>
            <p:nvPr/>
          </p:nvSpPr>
          <p:spPr bwMode="auto">
            <a:xfrm>
              <a:off x="5979648" y="5064658"/>
              <a:ext cx="551048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dirty="0">
                  <a:solidFill>
                    <a:srgbClr val="808080"/>
                  </a:solidFill>
                  <a:latin typeface="+mn-lt"/>
                </a:rPr>
                <a:t>Фактор</a:t>
              </a:r>
            </a:p>
          </p:txBody>
        </p:sp>
        <p:cxnSp>
          <p:nvCxnSpPr>
            <p:cNvPr id="3" name="Прямая со стрелкой 2"/>
            <p:cNvCxnSpPr/>
            <p:nvPr/>
          </p:nvCxnSpPr>
          <p:spPr>
            <a:xfrm>
              <a:off x="4286548" y="2078344"/>
              <a:ext cx="3960440" cy="0"/>
            </a:xfrm>
            <a:prstGeom prst="straightConnector1">
              <a:avLst/>
            </a:prstGeom>
            <a:ln w="25400">
              <a:solidFill>
                <a:srgbClr val="14AA96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 стрелкой 40"/>
            <p:cNvCxnSpPr/>
            <p:nvPr/>
          </p:nvCxnSpPr>
          <p:spPr>
            <a:xfrm>
              <a:off x="4286548" y="2294368"/>
              <a:ext cx="3960440" cy="0"/>
            </a:xfrm>
            <a:prstGeom prst="straightConnector1">
              <a:avLst/>
            </a:prstGeom>
            <a:ln w="25400">
              <a:solidFill>
                <a:srgbClr val="14AA96"/>
              </a:solidFill>
              <a:headEnd type="triangle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 стрелкой 41"/>
            <p:cNvCxnSpPr/>
            <p:nvPr/>
          </p:nvCxnSpPr>
          <p:spPr>
            <a:xfrm>
              <a:off x="4103929" y="2972998"/>
              <a:ext cx="1550659" cy="1237153"/>
            </a:xfrm>
            <a:prstGeom prst="straightConnector1">
              <a:avLst/>
            </a:prstGeom>
            <a:ln w="25400">
              <a:solidFill>
                <a:srgbClr val="F6BB42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 стрелкой 43"/>
            <p:cNvCxnSpPr/>
            <p:nvPr/>
          </p:nvCxnSpPr>
          <p:spPr>
            <a:xfrm>
              <a:off x="3926509" y="3302481"/>
              <a:ext cx="1550659" cy="1237153"/>
            </a:xfrm>
            <a:prstGeom prst="straightConnector1">
              <a:avLst/>
            </a:prstGeom>
            <a:ln w="25400">
              <a:solidFill>
                <a:srgbClr val="F6BB42"/>
              </a:solidFill>
              <a:headEnd type="triangle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Freeform 38"/>
            <p:cNvSpPr>
              <a:spLocks noChangeAspect="1" noEditPoints="1"/>
            </p:cNvSpPr>
            <p:nvPr/>
          </p:nvSpPr>
          <p:spPr bwMode="auto">
            <a:xfrm>
              <a:off x="4528815" y="2841012"/>
              <a:ext cx="344636" cy="444767"/>
            </a:xfrm>
            <a:custGeom>
              <a:avLst/>
              <a:gdLst>
                <a:gd name="T0" fmla="*/ 2147483647 w 3704"/>
                <a:gd name="T1" fmla="*/ 2147483647 h 4763"/>
                <a:gd name="T2" fmla="*/ 2147483647 w 3704"/>
                <a:gd name="T3" fmla="*/ 2147483647 h 4763"/>
                <a:gd name="T4" fmla="*/ 2147483647 w 3704"/>
                <a:gd name="T5" fmla="*/ 2147483647 h 4763"/>
                <a:gd name="T6" fmla="*/ 2147483647 w 3704"/>
                <a:gd name="T7" fmla="*/ 2147483647 h 4763"/>
                <a:gd name="T8" fmla="*/ 2147483647 w 3704"/>
                <a:gd name="T9" fmla="*/ 2147483647 h 4763"/>
                <a:gd name="T10" fmla="*/ 2147483647 w 3704"/>
                <a:gd name="T11" fmla="*/ 2147483647 h 4763"/>
                <a:gd name="T12" fmla="*/ 2147483647 w 3704"/>
                <a:gd name="T13" fmla="*/ 2147483647 h 4763"/>
                <a:gd name="T14" fmla="*/ 2147483647 w 3704"/>
                <a:gd name="T15" fmla="*/ 2147483647 h 4763"/>
                <a:gd name="T16" fmla="*/ 2147483647 w 3704"/>
                <a:gd name="T17" fmla="*/ 2147483647 h 4763"/>
                <a:gd name="T18" fmla="*/ 2147483647 w 3704"/>
                <a:gd name="T19" fmla="*/ 2147483647 h 4763"/>
                <a:gd name="T20" fmla="*/ 2147483647 w 3704"/>
                <a:gd name="T21" fmla="*/ 2147483647 h 4763"/>
                <a:gd name="T22" fmla="*/ 2147483647 w 3704"/>
                <a:gd name="T23" fmla="*/ 2147483647 h 4763"/>
                <a:gd name="T24" fmla="*/ 2147483647 w 3704"/>
                <a:gd name="T25" fmla="*/ 2147483647 h 4763"/>
                <a:gd name="T26" fmla="*/ 2147483647 w 3704"/>
                <a:gd name="T27" fmla="*/ 2147483647 h 4763"/>
                <a:gd name="T28" fmla="*/ 2147483647 w 3704"/>
                <a:gd name="T29" fmla="*/ 2147483647 h 4763"/>
                <a:gd name="T30" fmla="*/ 2147483647 w 3704"/>
                <a:gd name="T31" fmla="*/ 2147483647 h 4763"/>
                <a:gd name="T32" fmla="*/ 2147483647 w 3704"/>
                <a:gd name="T33" fmla="*/ 2147483647 h 4763"/>
                <a:gd name="T34" fmla="*/ 2147483647 w 3704"/>
                <a:gd name="T35" fmla="*/ 2147483647 h 4763"/>
                <a:gd name="T36" fmla="*/ 2147483647 w 3704"/>
                <a:gd name="T37" fmla="*/ 2147483647 h 4763"/>
                <a:gd name="T38" fmla="*/ 2147483647 w 3704"/>
                <a:gd name="T39" fmla="*/ 2147483647 h 4763"/>
                <a:gd name="T40" fmla="*/ 2147483647 w 3704"/>
                <a:gd name="T41" fmla="*/ 2147483647 h 4763"/>
                <a:gd name="T42" fmla="*/ 2147483647 w 3704"/>
                <a:gd name="T43" fmla="*/ 2147483647 h 4763"/>
                <a:gd name="T44" fmla="*/ 2147483647 w 3704"/>
                <a:gd name="T45" fmla="*/ 2147483647 h 4763"/>
                <a:gd name="T46" fmla="*/ 2147483647 w 3704"/>
                <a:gd name="T47" fmla="*/ 2147483647 h 4763"/>
                <a:gd name="T48" fmla="*/ 2147483647 w 3704"/>
                <a:gd name="T49" fmla="*/ 2147483647 h 4763"/>
                <a:gd name="T50" fmla="*/ 2147483647 w 3704"/>
                <a:gd name="T51" fmla="*/ 2147483647 h 4763"/>
                <a:gd name="T52" fmla="*/ 0 w 3704"/>
                <a:gd name="T53" fmla="*/ 2147483647 h 4763"/>
                <a:gd name="T54" fmla="*/ 0 w 3704"/>
                <a:gd name="T55" fmla="*/ 2147483647 h 4763"/>
                <a:gd name="T56" fmla="*/ 2147483647 w 3704"/>
                <a:gd name="T57" fmla="*/ 2147483647 h 4763"/>
                <a:gd name="T58" fmla="*/ 2147483647 w 3704"/>
                <a:gd name="T59" fmla="*/ 2147483647 h 4763"/>
                <a:gd name="T60" fmla="*/ 2147483647 w 3704"/>
                <a:gd name="T61" fmla="*/ 2147483647 h 4763"/>
                <a:gd name="T62" fmla="*/ 2147483647 w 3704"/>
                <a:gd name="T63" fmla="*/ 2147483647 h 4763"/>
                <a:gd name="T64" fmla="*/ 2147483647 w 3704"/>
                <a:gd name="T65" fmla="*/ 2147483647 h 4763"/>
                <a:gd name="T66" fmla="*/ 2147483647 w 3704"/>
                <a:gd name="T67" fmla="*/ 2147483647 h 4763"/>
                <a:gd name="T68" fmla="*/ 2147483647 w 3704"/>
                <a:gd name="T69" fmla="*/ 2147483647 h 4763"/>
                <a:gd name="T70" fmla="*/ 2147483647 w 3704"/>
                <a:gd name="T71" fmla="*/ 2147483647 h 4763"/>
                <a:gd name="T72" fmla="*/ 2147483647 w 3704"/>
                <a:gd name="T73" fmla="*/ 2147483647 h 4763"/>
                <a:gd name="T74" fmla="*/ 2147483647 w 3704"/>
                <a:gd name="T75" fmla="*/ 2147483647 h 4763"/>
                <a:gd name="T76" fmla="*/ 2147483647 w 3704"/>
                <a:gd name="T77" fmla="*/ 2147483647 h 4763"/>
                <a:gd name="T78" fmla="*/ 2147483647 w 3704"/>
                <a:gd name="T79" fmla="*/ 2147483647 h 4763"/>
                <a:gd name="T80" fmla="*/ 2147483647 w 3704"/>
                <a:gd name="T81" fmla="*/ 2147483647 h 4763"/>
                <a:gd name="T82" fmla="*/ 2147483647 w 3704"/>
                <a:gd name="T83" fmla="*/ 2147483647 h 4763"/>
                <a:gd name="T84" fmla="*/ 2147483647 w 3704"/>
                <a:gd name="T85" fmla="*/ 2147483647 h 4763"/>
                <a:gd name="T86" fmla="*/ 2147483647 w 3704"/>
                <a:gd name="T87" fmla="*/ 2147483647 h 4763"/>
                <a:gd name="T88" fmla="*/ 2147483647 w 3704"/>
                <a:gd name="T89" fmla="*/ 2147483647 h 4763"/>
                <a:gd name="T90" fmla="*/ 2147483647 w 3704"/>
                <a:gd name="T91" fmla="*/ 2147483647 h 4763"/>
                <a:gd name="T92" fmla="*/ 2147483647 w 3704"/>
                <a:gd name="T93" fmla="*/ 2147483647 h 4763"/>
                <a:gd name="T94" fmla="*/ 2147483647 w 3704"/>
                <a:gd name="T95" fmla="*/ 2147483647 h 4763"/>
                <a:gd name="T96" fmla="*/ 2147483647 w 3704"/>
                <a:gd name="T97" fmla="*/ 2147483647 h 4763"/>
                <a:gd name="T98" fmla="*/ 2147483647 w 3704"/>
                <a:gd name="T99" fmla="*/ 2147483647 h 4763"/>
                <a:gd name="T100" fmla="*/ 2147483647 w 3704"/>
                <a:gd name="T101" fmla="*/ 0 h 4763"/>
                <a:gd name="T102" fmla="*/ 2147483647 w 3704"/>
                <a:gd name="T103" fmla="*/ 0 h 4763"/>
                <a:gd name="T104" fmla="*/ 2147483647 w 3704"/>
                <a:gd name="T105" fmla="*/ 2147483647 h 4763"/>
                <a:gd name="T106" fmla="*/ 2147483647 w 3704"/>
                <a:gd name="T107" fmla="*/ 2147483647 h 4763"/>
                <a:gd name="T108" fmla="*/ 2147483647 w 3704"/>
                <a:gd name="T109" fmla="*/ 2147483647 h 4763"/>
                <a:gd name="T110" fmla="*/ 2147483647 w 3704"/>
                <a:gd name="T111" fmla="*/ 2147483647 h 4763"/>
                <a:gd name="T112" fmla="*/ 2147483647 w 3704"/>
                <a:gd name="T113" fmla="*/ 2147483647 h 4763"/>
                <a:gd name="T114" fmla="*/ 2147483647 w 3704"/>
                <a:gd name="T115" fmla="*/ 2147483647 h 4763"/>
                <a:gd name="T116" fmla="*/ 2147483647 w 3704"/>
                <a:gd name="T117" fmla="*/ 2147483647 h 4763"/>
                <a:gd name="T118" fmla="*/ 2147483647 w 3704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4"/>
                <a:gd name="T181" fmla="*/ 0 h 4763"/>
                <a:gd name="T182" fmla="*/ 3704 w 3704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4" h="4763">
                  <a:moveTo>
                    <a:pt x="577" y="554"/>
                  </a:moveTo>
                  <a:lnTo>
                    <a:pt x="577" y="337"/>
                  </a:lnTo>
                  <a:lnTo>
                    <a:pt x="3327" y="337"/>
                  </a:lnTo>
                  <a:lnTo>
                    <a:pt x="3327" y="4213"/>
                  </a:lnTo>
                  <a:lnTo>
                    <a:pt x="3074" y="4213"/>
                  </a:lnTo>
                  <a:lnTo>
                    <a:pt x="3074" y="4115"/>
                  </a:lnTo>
                  <a:lnTo>
                    <a:pt x="3229" y="4115"/>
                  </a:lnTo>
                  <a:lnTo>
                    <a:pt x="3229" y="435"/>
                  </a:lnTo>
                  <a:lnTo>
                    <a:pt x="675" y="435"/>
                  </a:lnTo>
                  <a:lnTo>
                    <a:pt x="675" y="554"/>
                  </a:lnTo>
                  <a:lnTo>
                    <a:pt x="577" y="554"/>
                  </a:lnTo>
                  <a:close/>
                  <a:moveTo>
                    <a:pt x="528" y="3793"/>
                  </a:moveTo>
                  <a:lnTo>
                    <a:pt x="2020" y="3793"/>
                  </a:lnTo>
                  <a:lnTo>
                    <a:pt x="2020" y="3890"/>
                  </a:lnTo>
                  <a:lnTo>
                    <a:pt x="528" y="3890"/>
                  </a:lnTo>
                  <a:lnTo>
                    <a:pt x="528" y="3793"/>
                  </a:lnTo>
                  <a:close/>
                  <a:moveTo>
                    <a:pt x="2685" y="1426"/>
                  </a:moveTo>
                  <a:lnTo>
                    <a:pt x="2198" y="945"/>
                  </a:lnTo>
                  <a:lnTo>
                    <a:pt x="2198" y="1426"/>
                  </a:lnTo>
                  <a:lnTo>
                    <a:pt x="2685" y="1426"/>
                  </a:lnTo>
                  <a:close/>
                  <a:moveTo>
                    <a:pt x="195" y="849"/>
                  </a:moveTo>
                  <a:lnTo>
                    <a:pt x="195" y="4568"/>
                  </a:lnTo>
                  <a:lnTo>
                    <a:pt x="2768" y="4568"/>
                  </a:lnTo>
                  <a:lnTo>
                    <a:pt x="2769" y="1718"/>
                  </a:lnTo>
                  <a:lnTo>
                    <a:pt x="2964" y="1718"/>
                  </a:lnTo>
                  <a:lnTo>
                    <a:pt x="2962" y="4763"/>
                  </a:lnTo>
                  <a:lnTo>
                    <a:pt x="0" y="4763"/>
                  </a:lnTo>
                  <a:lnTo>
                    <a:pt x="0" y="654"/>
                  </a:lnTo>
                  <a:lnTo>
                    <a:pt x="2190" y="654"/>
                  </a:lnTo>
                  <a:lnTo>
                    <a:pt x="2965" y="1428"/>
                  </a:lnTo>
                  <a:lnTo>
                    <a:pt x="2964" y="1621"/>
                  </a:lnTo>
                  <a:lnTo>
                    <a:pt x="2003" y="1621"/>
                  </a:lnTo>
                  <a:lnTo>
                    <a:pt x="2003" y="849"/>
                  </a:lnTo>
                  <a:lnTo>
                    <a:pt x="195" y="849"/>
                  </a:lnTo>
                  <a:close/>
                  <a:moveTo>
                    <a:pt x="528" y="2209"/>
                  </a:moveTo>
                  <a:lnTo>
                    <a:pt x="2434" y="2209"/>
                  </a:lnTo>
                  <a:lnTo>
                    <a:pt x="2434" y="2306"/>
                  </a:lnTo>
                  <a:lnTo>
                    <a:pt x="528" y="2306"/>
                  </a:lnTo>
                  <a:lnTo>
                    <a:pt x="528" y="2209"/>
                  </a:lnTo>
                  <a:close/>
                  <a:moveTo>
                    <a:pt x="528" y="2737"/>
                  </a:moveTo>
                  <a:lnTo>
                    <a:pt x="2434" y="2737"/>
                  </a:lnTo>
                  <a:lnTo>
                    <a:pt x="2434" y="2834"/>
                  </a:lnTo>
                  <a:lnTo>
                    <a:pt x="528" y="2834"/>
                  </a:lnTo>
                  <a:lnTo>
                    <a:pt x="528" y="2737"/>
                  </a:lnTo>
                  <a:close/>
                  <a:moveTo>
                    <a:pt x="528" y="3265"/>
                  </a:moveTo>
                  <a:lnTo>
                    <a:pt x="2434" y="3265"/>
                  </a:lnTo>
                  <a:lnTo>
                    <a:pt x="2434" y="3363"/>
                  </a:lnTo>
                  <a:lnTo>
                    <a:pt x="528" y="3363"/>
                  </a:lnTo>
                  <a:lnTo>
                    <a:pt x="528" y="3265"/>
                  </a:lnTo>
                  <a:close/>
                  <a:moveTo>
                    <a:pt x="964" y="218"/>
                  </a:moveTo>
                  <a:lnTo>
                    <a:pt x="964" y="0"/>
                  </a:lnTo>
                  <a:lnTo>
                    <a:pt x="3704" y="0"/>
                  </a:lnTo>
                  <a:lnTo>
                    <a:pt x="3704" y="3896"/>
                  </a:lnTo>
                  <a:lnTo>
                    <a:pt x="3452" y="3896"/>
                  </a:lnTo>
                  <a:lnTo>
                    <a:pt x="3452" y="3799"/>
                  </a:lnTo>
                  <a:lnTo>
                    <a:pt x="3607" y="3799"/>
                  </a:lnTo>
                  <a:lnTo>
                    <a:pt x="3607" y="97"/>
                  </a:lnTo>
                  <a:lnTo>
                    <a:pt x="1062" y="97"/>
                  </a:lnTo>
                  <a:lnTo>
                    <a:pt x="1062" y="218"/>
                  </a:lnTo>
                  <a:lnTo>
                    <a:pt x="964" y="218"/>
                  </a:lnTo>
                  <a:close/>
                </a:path>
              </a:pathLst>
            </a:custGeom>
            <a:solidFill>
              <a:srgbClr val="F6BB4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charset="0"/>
              </a:endParaRPr>
            </a:p>
          </p:txBody>
        </p:sp>
        <p:sp>
          <p:nvSpPr>
            <p:cNvPr id="48" name="TextBox 7"/>
            <p:cNvSpPr txBox="1">
              <a:spLocks noChangeArrowheads="1"/>
            </p:cNvSpPr>
            <p:nvPr/>
          </p:nvSpPr>
          <p:spPr bwMode="auto">
            <a:xfrm rot="2321085">
              <a:off x="4760654" y="3561185"/>
              <a:ext cx="998735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b="1" dirty="0">
                  <a:solidFill>
                    <a:srgbClr val="F6BB42"/>
                  </a:solidFill>
                  <a:cs typeface="Arial" panose="020B0604020202020204" pitchFamily="34" charset="0"/>
                </a:rPr>
                <a:t>Реестр УДТ</a:t>
              </a:r>
            </a:p>
          </p:txBody>
        </p:sp>
        <p:sp>
          <p:nvSpPr>
            <p:cNvPr id="50" name="Freeform 30"/>
            <p:cNvSpPr>
              <a:spLocks noChangeAspect="1" noEditPoints="1"/>
            </p:cNvSpPr>
            <p:nvPr/>
          </p:nvSpPr>
          <p:spPr bwMode="auto">
            <a:xfrm>
              <a:off x="3992017" y="3699753"/>
              <a:ext cx="476414" cy="358564"/>
            </a:xfrm>
            <a:custGeom>
              <a:avLst/>
              <a:gdLst>
                <a:gd name="T0" fmla="*/ 2147483647 w 6336"/>
                <a:gd name="T1" fmla="*/ 2147483647 h 4763"/>
                <a:gd name="T2" fmla="*/ 2147483647 w 6336"/>
                <a:gd name="T3" fmla="*/ 2147483647 h 4763"/>
                <a:gd name="T4" fmla="*/ 2147483647 w 6336"/>
                <a:gd name="T5" fmla="*/ 2147483647 h 4763"/>
                <a:gd name="T6" fmla="*/ 2147483647 w 6336"/>
                <a:gd name="T7" fmla="*/ 2147483647 h 4763"/>
                <a:gd name="T8" fmla="*/ 2147483647 w 6336"/>
                <a:gd name="T9" fmla="*/ 2147483647 h 4763"/>
                <a:gd name="T10" fmla="*/ 2147483647 w 6336"/>
                <a:gd name="T11" fmla="*/ 2147483647 h 4763"/>
                <a:gd name="T12" fmla="*/ 2147483647 w 6336"/>
                <a:gd name="T13" fmla="*/ 2147483647 h 4763"/>
                <a:gd name="T14" fmla="*/ 2147483647 w 6336"/>
                <a:gd name="T15" fmla="*/ 2147483647 h 4763"/>
                <a:gd name="T16" fmla="*/ 2147483647 w 6336"/>
                <a:gd name="T17" fmla="*/ 2147483647 h 4763"/>
                <a:gd name="T18" fmla="*/ 2147483647 w 6336"/>
                <a:gd name="T19" fmla="*/ 2147483647 h 4763"/>
                <a:gd name="T20" fmla="*/ 2147483647 w 6336"/>
                <a:gd name="T21" fmla="*/ 2147483647 h 4763"/>
                <a:gd name="T22" fmla="*/ 2147483647 w 6336"/>
                <a:gd name="T23" fmla="*/ 2147483647 h 4763"/>
                <a:gd name="T24" fmla="*/ 2147483647 w 6336"/>
                <a:gd name="T25" fmla="*/ 2147483647 h 4763"/>
                <a:gd name="T26" fmla="*/ 2147483647 w 6336"/>
                <a:gd name="T27" fmla="*/ 2147483647 h 4763"/>
                <a:gd name="T28" fmla="*/ 2147483647 w 6336"/>
                <a:gd name="T29" fmla="*/ 2147483647 h 4763"/>
                <a:gd name="T30" fmla="*/ 2147483647 w 6336"/>
                <a:gd name="T31" fmla="*/ 2147483647 h 4763"/>
                <a:gd name="T32" fmla="*/ 2147483647 w 6336"/>
                <a:gd name="T33" fmla="*/ 2147483647 h 4763"/>
                <a:gd name="T34" fmla="*/ 2147483647 w 6336"/>
                <a:gd name="T35" fmla="*/ 2147483647 h 4763"/>
                <a:gd name="T36" fmla="*/ 2147483647 w 6336"/>
                <a:gd name="T37" fmla="*/ 2147483647 h 4763"/>
                <a:gd name="T38" fmla="*/ 2147483647 w 6336"/>
                <a:gd name="T39" fmla="*/ 2147483647 h 4763"/>
                <a:gd name="T40" fmla="*/ 2147483647 w 6336"/>
                <a:gd name="T41" fmla="*/ 2147483647 h 4763"/>
                <a:gd name="T42" fmla="*/ 2147483647 w 6336"/>
                <a:gd name="T43" fmla="*/ 2147483647 h 4763"/>
                <a:gd name="T44" fmla="*/ 2147483647 w 6336"/>
                <a:gd name="T45" fmla="*/ 2147483647 h 4763"/>
                <a:gd name="T46" fmla="*/ 2147483647 w 6336"/>
                <a:gd name="T47" fmla="*/ 2147483647 h 4763"/>
                <a:gd name="T48" fmla="*/ 2147483647 w 6336"/>
                <a:gd name="T49" fmla="*/ 2147483647 h 4763"/>
                <a:gd name="T50" fmla="*/ 2147483647 w 6336"/>
                <a:gd name="T51" fmla="*/ 2147483647 h 4763"/>
                <a:gd name="T52" fmla="*/ 2147483647 w 6336"/>
                <a:gd name="T53" fmla="*/ 2147483647 h 4763"/>
                <a:gd name="T54" fmla="*/ 2147483647 w 6336"/>
                <a:gd name="T55" fmla="*/ 2147483647 h 4763"/>
                <a:gd name="T56" fmla="*/ 2147483647 w 6336"/>
                <a:gd name="T57" fmla="*/ 2147483647 h 4763"/>
                <a:gd name="T58" fmla="*/ 2147483647 w 6336"/>
                <a:gd name="T59" fmla="*/ 2147483647 h 4763"/>
                <a:gd name="T60" fmla="*/ 2147483647 w 6336"/>
                <a:gd name="T61" fmla="*/ 2147483647 h 4763"/>
                <a:gd name="T62" fmla="*/ 2147483647 w 6336"/>
                <a:gd name="T63" fmla="*/ 2147483647 h 4763"/>
                <a:gd name="T64" fmla="*/ 2147483647 w 6336"/>
                <a:gd name="T65" fmla="*/ 2147483647 h 4763"/>
                <a:gd name="T66" fmla="*/ 2147483647 w 6336"/>
                <a:gd name="T67" fmla="*/ 2147483647 h 4763"/>
                <a:gd name="T68" fmla="*/ 2147483647 w 6336"/>
                <a:gd name="T69" fmla="*/ 2147483647 h 4763"/>
                <a:gd name="T70" fmla="*/ 2147483647 w 6336"/>
                <a:gd name="T71" fmla="*/ 2147483647 h 4763"/>
                <a:gd name="T72" fmla="*/ 2147483647 w 6336"/>
                <a:gd name="T73" fmla="*/ 2147483647 h 4763"/>
                <a:gd name="T74" fmla="*/ 2147483647 w 6336"/>
                <a:gd name="T75" fmla="*/ 2147483647 h 4763"/>
                <a:gd name="T76" fmla="*/ 2147483647 w 6336"/>
                <a:gd name="T77" fmla="*/ 2147483647 h 4763"/>
                <a:gd name="T78" fmla="*/ 2147483647 w 6336"/>
                <a:gd name="T79" fmla="*/ 2147483647 h 4763"/>
                <a:gd name="T80" fmla="*/ 2147483647 w 6336"/>
                <a:gd name="T81" fmla="*/ 2147483647 h 4763"/>
                <a:gd name="T82" fmla="*/ 2147483647 w 6336"/>
                <a:gd name="T83" fmla="*/ 2147483647 h 4763"/>
                <a:gd name="T84" fmla="*/ 2147483647 w 6336"/>
                <a:gd name="T85" fmla="*/ 2147483647 h 4763"/>
                <a:gd name="T86" fmla="*/ 0 w 6336"/>
                <a:gd name="T87" fmla="*/ 2147483647 h 4763"/>
                <a:gd name="T88" fmla="*/ 2147483647 w 6336"/>
                <a:gd name="T89" fmla="*/ 2147483647 h 4763"/>
                <a:gd name="T90" fmla="*/ 0 w 6336"/>
                <a:gd name="T91" fmla="*/ 2147483647 h 4763"/>
                <a:gd name="T92" fmla="*/ 2147483647 w 6336"/>
                <a:gd name="T93" fmla="*/ 2147483647 h 4763"/>
                <a:gd name="T94" fmla="*/ 2147483647 w 6336"/>
                <a:gd name="T95" fmla="*/ 2147483647 h 4763"/>
                <a:gd name="T96" fmla="*/ 2147483647 w 6336"/>
                <a:gd name="T97" fmla="*/ 2147483647 h 4763"/>
                <a:gd name="T98" fmla="*/ 2147483647 w 6336"/>
                <a:gd name="T99" fmla="*/ 2147483647 h 4763"/>
                <a:gd name="T100" fmla="*/ 2147483647 w 6336"/>
                <a:gd name="T101" fmla="*/ 2147483647 h 4763"/>
                <a:gd name="T102" fmla="*/ 2147483647 w 6336"/>
                <a:gd name="T103" fmla="*/ 2147483647 h 4763"/>
                <a:gd name="T104" fmla="*/ 2147483647 w 6336"/>
                <a:gd name="T105" fmla="*/ 2147483647 h 4763"/>
                <a:gd name="T106" fmla="*/ 2147483647 w 6336"/>
                <a:gd name="T107" fmla="*/ 2147483647 h 4763"/>
                <a:gd name="T108" fmla="*/ 2147483647 w 6336"/>
                <a:gd name="T109" fmla="*/ 2147483647 h 4763"/>
                <a:gd name="T110" fmla="*/ 2147483647 w 6336"/>
                <a:gd name="T111" fmla="*/ 2147483647 h 4763"/>
                <a:gd name="T112" fmla="*/ 2147483647 w 6336"/>
                <a:gd name="T113" fmla="*/ 2147483647 h 4763"/>
                <a:gd name="T114" fmla="*/ 2147483647 w 6336"/>
                <a:gd name="T115" fmla="*/ 2147483647 h 4763"/>
                <a:gd name="T116" fmla="*/ 2147483647 w 6336"/>
                <a:gd name="T117" fmla="*/ 2147483647 h 4763"/>
                <a:gd name="T118" fmla="*/ 2147483647 w 6336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36"/>
                <a:gd name="T181" fmla="*/ 0 h 4763"/>
                <a:gd name="T182" fmla="*/ 6336 w 6336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36" h="4763">
                  <a:moveTo>
                    <a:pt x="1772" y="3695"/>
                  </a:moveTo>
                  <a:lnTo>
                    <a:pt x="109" y="2820"/>
                  </a:lnTo>
                  <a:lnTo>
                    <a:pt x="109" y="2672"/>
                  </a:lnTo>
                  <a:lnTo>
                    <a:pt x="1772" y="3547"/>
                  </a:lnTo>
                  <a:lnTo>
                    <a:pt x="1772" y="3695"/>
                  </a:lnTo>
                  <a:close/>
                  <a:moveTo>
                    <a:pt x="3814" y="1925"/>
                  </a:moveTo>
                  <a:lnTo>
                    <a:pt x="4488" y="1668"/>
                  </a:lnTo>
                  <a:lnTo>
                    <a:pt x="2515" y="608"/>
                  </a:lnTo>
                  <a:lnTo>
                    <a:pt x="1795" y="857"/>
                  </a:lnTo>
                  <a:lnTo>
                    <a:pt x="3814" y="1925"/>
                  </a:lnTo>
                  <a:close/>
                  <a:moveTo>
                    <a:pt x="4541" y="1785"/>
                  </a:moveTo>
                  <a:lnTo>
                    <a:pt x="3830" y="2056"/>
                  </a:lnTo>
                  <a:lnTo>
                    <a:pt x="3830" y="4109"/>
                  </a:lnTo>
                  <a:lnTo>
                    <a:pt x="4501" y="3874"/>
                  </a:lnTo>
                  <a:lnTo>
                    <a:pt x="4541" y="1785"/>
                  </a:lnTo>
                  <a:close/>
                  <a:moveTo>
                    <a:pt x="2218" y="1229"/>
                  </a:moveTo>
                  <a:lnTo>
                    <a:pt x="2218" y="1229"/>
                  </a:lnTo>
                  <a:lnTo>
                    <a:pt x="2183" y="1250"/>
                  </a:lnTo>
                  <a:lnTo>
                    <a:pt x="2148" y="1271"/>
                  </a:lnTo>
                  <a:lnTo>
                    <a:pt x="2116" y="1291"/>
                  </a:lnTo>
                  <a:lnTo>
                    <a:pt x="2084" y="1312"/>
                  </a:lnTo>
                  <a:lnTo>
                    <a:pt x="2056" y="1333"/>
                  </a:lnTo>
                  <a:lnTo>
                    <a:pt x="2030" y="1354"/>
                  </a:lnTo>
                  <a:lnTo>
                    <a:pt x="2005" y="1374"/>
                  </a:lnTo>
                  <a:lnTo>
                    <a:pt x="1982" y="1395"/>
                  </a:lnTo>
                  <a:lnTo>
                    <a:pt x="1961" y="1416"/>
                  </a:lnTo>
                  <a:lnTo>
                    <a:pt x="1944" y="1435"/>
                  </a:lnTo>
                  <a:lnTo>
                    <a:pt x="1928" y="1456"/>
                  </a:lnTo>
                  <a:lnTo>
                    <a:pt x="1914" y="1476"/>
                  </a:lnTo>
                  <a:lnTo>
                    <a:pt x="1904" y="1496"/>
                  </a:lnTo>
                  <a:lnTo>
                    <a:pt x="1894" y="1515"/>
                  </a:lnTo>
                  <a:lnTo>
                    <a:pt x="1888" y="1536"/>
                  </a:lnTo>
                  <a:lnTo>
                    <a:pt x="1885" y="1553"/>
                  </a:lnTo>
                  <a:lnTo>
                    <a:pt x="1885" y="1569"/>
                  </a:lnTo>
                  <a:lnTo>
                    <a:pt x="1886" y="1587"/>
                  </a:lnTo>
                  <a:lnTo>
                    <a:pt x="1890" y="1603"/>
                  </a:lnTo>
                  <a:lnTo>
                    <a:pt x="1898" y="1619"/>
                  </a:lnTo>
                  <a:lnTo>
                    <a:pt x="1907" y="1634"/>
                  </a:lnTo>
                  <a:lnTo>
                    <a:pt x="1920" y="1650"/>
                  </a:lnTo>
                  <a:lnTo>
                    <a:pt x="1936" y="1666"/>
                  </a:lnTo>
                  <a:lnTo>
                    <a:pt x="1955" y="1681"/>
                  </a:lnTo>
                  <a:lnTo>
                    <a:pt x="1976" y="1695"/>
                  </a:lnTo>
                  <a:lnTo>
                    <a:pt x="2001" y="1710"/>
                  </a:lnTo>
                  <a:lnTo>
                    <a:pt x="2032" y="1724"/>
                  </a:lnTo>
                  <a:lnTo>
                    <a:pt x="2064" y="1737"/>
                  </a:lnTo>
                  <a:lnTo>
                    <a:pt x="2100" y="1748"/>
                  </a:lnTo>
                  <a:lnTo>
                    <a:pt x="2140" y="1759"/>
                  </a:lnTo>
                  <a:lnTo>
                    <a:pt x="2185" y="1769"/>
                  </a:lnTo>
                  <a:lnTo>
                    <a:pt x="2234" y="1778"/>
                  </a:lnTo>
                  <a:lnTo>
                    <a:pt x="2282" y="1785"/>
                  </a:lnTo>
                  <a:lnTo>
                    <a:pt x="2333" y="1791"/>
                  </a:lnTo>
                  <a:lnTo>
                    <a:pt x="2386" y="1796"/>
                  </a:lnTo>
                  <a:lnTo>
                    <a:pt x="2440" y="1797"/>
                  </a:lnTo>
                  <a:lnTo>
                    <a:pt x="2496" y="1799"/>
                  </a:lnTo>
                  <a:lnTo>
                    <a:pt x="2554" y="1799"/>
                  </a:lnTo>
                  <a:lnTo>
                    <a:pt x="2611" y="1799"/>
                  </a:lnTo>
                  <a:lnTo>
                    <a:pt x="2670" y="1796"/>
                  </a:lnTo>
                  <a:lnTo>
                    <a:pt x="2731" y="1791"/>
                  </a:lnTo>
                  <a:lnTo>
                    <a:pt x="2791" y="1786"/>
                  </a:lnTo>
                  <a:lnTo>
                    <a:pt x="2854" y="1780"/>
                  </a:lnTo>
                  <a:lnTo>
                    <a:pt x="2914" y="1772"/>
                  </a:lnTo>
                  <a:lnTo>
                    <a:pt x="2976" y="1764"/>
                  </a:lnTo>
                  <a:lnTo>
                    <a:pt x="3040" y="1754"/>
                  </a:lnTo>
                  <a:lnTo>
                    <a:pt x="3103" y="1743"/>
                  </a:lnTo>
                  <a:lnTo>
                    <a:pt x="3165" y="1730"/>
                  </a:lnTo>
                  <a:lnTo>
                    <a:pt x="2218" y="1229"/>
                  </a:lnTo>
                  <a:close/>
                  <a:moveTo>
                    <a:pt x="4258" y="1084"/>
                  </a:moveTo>
                  <a:lnTo>
                    <a:pt x="4258" y="1084"/>
                  </a:lnTo>
                  <a:lnTo>
                    <a:pt x="4252" y="1073"/>
                  </a:lnTo>
                  <a:lnTo>
                    <a:pt x="4244" y="1060"/>
                  </a:lnTo>
                  <a:lnTo>
                    <a:pt x="4234" y="1049"/>
                  </a:lnTo>
                  <a:lnTo>
                    <a:pt x="4223" y="1038"/>
                  </a:lnTo>
                  <a:lnTo>
                    <a:pt x="4210" y="1026"/>
                  </a:lnTo>
                  <a:lnTo>
                    <a:pt x="4196" y="1015"/>
                  </a:lnTo>
                  <a:lnTo>
                    <a:pt x="4180" y="1004"/>
                  </a:lnTo>
                  <a:lnTo>
                    <a:pt x="4162" y="994"/>
                  </a:lnTo>
                  <a:lnTo>
                    <a:pt x="4143" y="985"/>
                  </a:lnTo>
                  <a:lnTo>
                    <a:pt x="4122" y="975"/>
                  </a:lnTo>
                  <a:lnTo>
                    <a:pt x="4078" y="958"/>
                  </a:lnTo>
                  <a:lnTo>
                    <a:pt x="4027" y="942"/>
                  </a:lnTo>
                  <a:lnTo>
                    <a:pt x="3969" y="929"/>
                  </a:lnTo>
                  <a:lnTo>
                    <a:pt x="3907" y="918"/>
                  </a:lnTo>
                  <a:lnTo>
                    <a:pt x="3841" y="908"/>
                  </a:lnTo>
                  <a:lnTo>
                    <a:pt x="3770" y="900"/>
                  </a:lnTo>
                  <a:lnTo>
                    <a:pt x="3693" y="897"/>
                  </a:lnTo>
                  <a:lnTo>
                    <a:pt x="3613" y="895"/>
                  </a:lnTo>
                  <a:lnTo>
                    <a:pt x="3529" y="895"/>
                  </a:lnTo>
                  <a:lnTo>
                    <a:pt x="3441" y="900"/>
                  </a:lnTo>
                  <a:lnTo>
                    <a:pt x="3348" y="908"/>
                  </a:lnTo>
                  <a:lnTo>
                    <a:pt x="4132" y="1328"/>
                  </a:lnTo>
                  <a:lnTo>
                    <a:pt x="4154" y="1309"/>
                  </a:lnTo>
                  <a:lnTo>
                    <a:pt x="4173" y="1290"/>
                  </a:lnTo>
                  <a:lnTo>
                    <a:pt x="4191" y="1272"/>
                  </a:lnTo>
                  <a:lnTo>
                    <a:pt x="4207" y="1253"/>
                  </a:lnTo>
                  <a:lnTo>
                    <a:pt x="4220" y="1235"/>
                  </a:lnTo>
                  <a:lnTo>
                    <a:pt x="4233" y="1219"/>
                  </a:lnTo>
                  <a:lnTo>
                    <a:pt x="4242" y="1204"/>
                  </a:lnTo>
                  <a:lnTo>
                    <a:pt x="4250" y="1188"/>
                  </a:lnTo>
                  <a:lnTo>
                    <a:pt x="4256" y="1172"/>
                  </a:lnTo>
                  <a:lnTo>
                    <a:pt x="4261" y="1157"/>
                  </a:lnTo>
                  <a:lnTo>
                    <a:pt x="4263" y="1144"/>
                  </a:lnTo>
                  <a:lnTo>
                    <a:pt x="4264" y="1130"/>
                  </a:lnTo>
                  <a:lnTo>
                    <a:pt x="4266" y="1117"/>
                  </a:lnTo>
                  <a:lnTo>
                    <a:pt x="4264" y="1106"/>
                  </a:lnTo>
                  <a:lnTo>
                    <a:pt x="4261" y="1095"/>
                  </a:lnTo>
                  <a:lnTo>
                    <a:pt x="4258" y="1084"/>
                  </a:lnTo>
                  <a:close/>
                  <a:moveTo>
                    <a:pt x="1997" y="1111"/>
                  </a:moveTo>
                  <a:lnTo>
                    <a:pt x="383" y="1655"/>
                  </a:lnTo>
                  <a:lnTo>
                    <a:pt x="1933" y="2482"/>
                  </a:lnTo>
                  <a:lnTo>
                    <a:pt x="3516" y="1915"/>
                  </a:lnTo>
                  <a:lnTo>
                    <a:pt x="3342" y="1824"/>
                  </a:lnTo>
                  <a:lnTo>
                    <a:pt x="3269" y="1842"/>
                  </a:lnTo>
                  <a:lnTo>
                    <a:pt x="3194" y="1858"/>
                  </a:lnTo>
                  <a:lnTo>
                    <a:pt x="3119" y="1872"/>
                  </a:lnTo>
                  <a:lnTo>
                    <a:pt x="3044" y="1885"/>
                  </a:lnTo>
                  <a:lnTo>
                    <a:pt x="2969" y="1898"/>
                  </a:lnTo>
                  <a:lnTo>
                    <a:pt x="2893" y="1907"/>
                  </a:lnTo>
                  <a:lnTo>
                    <a:pt x="2820" y="1915"/>
                  </a:lnTo>
                  <a:lnTo>
                    <a:pt x="2747" y="1922"/>
                  </a:lnTo>
                  <a:lnTo>
                    <a:pt x="2675" y="1927"/>
                  </a:lnTo>
                  <a:lnTo>
                    <a:pt x="2603" y="1930"/>
                  </a:lnTo>
                  <a:lnTo>
                    <a:pt x="2534" y="1931"/>
                  </a:lnTo>
                  <a:lnTo>
                    <a:pt x="2466" y="1930"/>
                  </a:lnTo>
                  <a:lnTo>
                    <a:pt x="2399" y="1927"/>
                  </a:lnTo>
                  <a:lnTo>
                    <a:pt x="2335" y="1923"/>
                  </a:lnTo>
                  <a:lnTo>
                    <a:pt x="2273" y="1915"/>
                  </a:lnTo>
                  <a:lnTo>
                    <a:pt x="2212" y="1907"/>
                  </a:lnTo>
                  <a:lnTo>
                    <a:pt x="2166" y="1899"/>
                  </a:lnTo>
                  <a:lnTo>
                    <a:pt x="2118" y="1888"/>
                  </a:lnTo>
                  <a:lnTo>
                    <a:pt x="2073" y="1877"/>
                  </a:lnTo>
                  <a:lnTo>
                    <a:pt x="2030" y="1863"/>
                  </a:lnTo>
                  <a:lnTo>
                    <a:pt x="1989" y="1847"/>
                  </a:lnTo>
                  <a:lnTo>
                    <a:pt x="1949" y="1829"/>
                  </a:lnTo>
                  <a:lnTo>
                    <a:pt x="1912" y="1810"/>
                  </a:lnTo>
                  <a:lnTo>
                    <a:pt x="1878" y="1788"/>
                  </a:lnTo>
                  <a:lnTo>
                    <a:pt x="1848" y="1764"/>
                  </a:lnTo>
                  <a:lnTo>
                    <a:pt x="1834" y="1753"/>
                  </a:lnTo>
                  <a:lnTo>
                    <a:pt x="1821" y="1738"/>
                  </a:lnTo>
                  <a:lnTo>
                    <a:pt x="1808" y="1725"/>
                  </a:lnTo>
                  <a:lnTo>
                    <a:pt x="1799" y="1711"/>
                  </a:lnTo>
                  <a:lnTo>
                    <a:pt x="1787" y="1697"/>
                  </a:lnTo>
                  <a:lnTo>
                    <a:pt x="1780" y="1681"/>
                  </a:lnTo>
                  <a:lnTo>
                    <a:pt x="1772" y="1665"/>
                  </a:lnTo>
                  <a:lnTo>
                    <a:pt x="1765" y="1649"/>
                  </a:lnTo>
                  <a:lnTo>
                    <a:pt x="1760" y="1631"/>
                  </a:lnTo>
                  <a:lnTo>
                    <a:pt x="1757" y="1614"/>
                  </a:lnTo>
                  <a:lnTo>
                    <a:pt x="1754" y="1596"/>
                  </a:lnTo>
                  <a:lnTo>
                    <a:pt x="1752" y="1577"/>
                  </a:lnTo>
                  <a:lnTo>
                    <a:pt x="1752" y="1558"/>
                  </a:lnTo>
                  <a:lnTo>
                    <a:pt x="1754" y="1539"/>
                  </a:lnTo>
                  <a:lnTo>
                    <a:pt x="1759" y="1512"/>
                  </a:lnTo>
                  <a:lnTo>
                    <a:pt x="1765" y="1486"/>
                  </a:lnTo>
                  <a:lnTo>
                    <a:pt x="1775" y="1461"/>
                  </a:lnTo>
                  <a:lnTo>
                    <a:pt x="1786" y="1435"/>
                  </a:lnTo>
                  <a:lnTo>
                    <a:pt x="1800" y="1411"/>
                  </a:lnTo>
                  <a:lnTo>
                    <a:pt x="1816" y="1385"/>
                  </a:lnTo>
                  <a:lnTo>
                    <a:pt x="1834" y="1362"/>
                  </a:lnTo>
                  <a:lnTo>
                    <a:pt x="1855" y="1338"/>
                  </a:lnTo>
                  <a:lnTo>
                    <a:pt x="1875" y="1314"/>
                  </a:lnTo>
                  <a:lnTo>
                    <a:pt x="1899" y="1290"/>
                  </a:lnTo>
                  <a:lnTo>
                    <a:pt x="1926" y="1266"/>
                  </a:lnTo>
                  <a:lnTo>
                    <a:pt x="1953" y="1243"/>
                  </a:lnTo>
                  <a:lnTo>
                    <a:pt x="1982" y="1221"/>
                  </a:lnTo>
                  <a:lnTo>
                    <a:pt x="2013" y="1199"/>
                  </a:lnTo>
                  <a:lnTo>
                    <a:pt x="2046" y="1176"/>
                  </a:lnTo>
                  <a:lnTo>
                    <a:pt x="2080" y="1156"/>
                  </a:lnTo>
                  <a:lnTo>
                    <a:pt x="1997" y="1111"/>
                  </a:lnTo>
                  <a:close/>
                  <a:moveTo>
                    <a:pt x="2753" y="587"/>
                  </a:moveTo>
                  <a:lnTo>
                    <a:pt x="4496" y="0"/>
                  </a:lnTo>
                  <a:lnTo>
                    <a:pt x="6307" y="926"/>
                  </a:lnTo>
                  <a:lnTo>
                    <a:pt x="6307" y="1188"/>
                  </a:lnTo>
                  <a:lnTo>
                    <a:pt x="4671" y="1773"/>
                  </a:lnTo>
                  <a:lnTo>
                    <a:pt x="4667" y="2011"/>
                  </a:lnTo>
                  <a:lnTo>
                    <a:pt x="6221" y="1456"/>
                  </a:lnTo>
                  <a:lnTo>
                    <a:pt x="6221" y="1596"/>
                  </a:lnTo>
                  <a:lnTo>
                    <a:pt x="4665" y="2150"/>
                  </a:lnTo>
                  <a:lnTo>
                    <a:pt x="4662" y="2340"/>
                  </a:lnTo>
                  <a:lnTo>
                    <a:pt x="6336" y="1743"/>
                  </a:lnTo>
                  <a:lnTo>
                    <a:pt x="6336" y="1882"/>
                  </a:lnTo>
                  <a:lnTo>
                    <a:pt x="4659" y="2480"/>
                  </a:lnTo>
                  <a:lnTo>
                    <a:pt x="4655" y="2670"/>
                  </a:lnTo>
                  <a:lnTo>
                    <a:pt x="6218" y="2113"/>
                  </a:lnTo>
                  <a:lnTo>
                    <a:pt x="6218" y="2252"/>
                  </a:lnTo>
                  <a:lnTo>
                    <a:pt x="4652" y="2811"/>
                  </a:lnTo>
                  <a:lnTo>
                    <a:pt x="4649" y="2999"/>
                  </a:lnTo>
                  <a:lnTo>
                    <a:pt x="6336" y="2397"/>
                  </a:lnTo>
                  <a:lnTo>
                    <a:pt x="6336" y="2538"/>
                  </a:lnTo>
                  <a:lnTo>
                    <a:pt x="4646" y="3140"/>
                  </a:lnTo>
                  <a:lnTo>
                    <a:pt x="4643" y="3330"/>
                  </a:lnTo>
                  <a:lnTo>
                    <a:pt x="6223" y="2766"/>
                  </a:lnTo>
                  <a:lnTo>
                    <a:pt x="6223" y="2905"/>
                  </a:lnTo>
                  <a:lnTo>
                    <a:pt x="4639" y="3470"/>
                  </a:lnTo>
                  <a:lnTo>
                    <a:pt x="4636" y="3658"/>
                  </a:lnTo>
                  <a:lnTo>
                    <a:pt x="6336" y="3053"/>
                  </a:lnTo>
                  <a:lnTo>
                    <a:pt x="6336" y="3192"/>
                  </a:lnTo>
                  <a:lnTo>
                    <a:pt x="4633" y="3799"/>
                  </a:lnTo>
                  <a:lnTo>
                    <a:pt x="4630" y="3968"/>
                  </a:lnTo>
                  <a:lnTo>
                    <a:pt x="3699" y="4294"/>
                  </a:lnTo>
                  <a:lnTo>
                    <a:pt x="3699" y="4133"/>
                  </a:lnTo>
                  <a:lnTo>
                    <a:pt x="1933" y="4763"/>
                  </a:lnTo>
                  <a:lnTo>
                    <a:pt x="0" y="3745"/>
                  </a:lnTo>
                  <a:lnTo>
                    <a:pt x="0" y="3596"/>
                  </a:lnTo>
                  <a:lnTo>
                    <a:pt x="1944" y="4619"/>
                  </a:lnTo>
                  <a:lnTo>
                    <a:pt x="3699" y="3994"/>
                  </a:lnTo>
                  <a:lnTo>
                    <a:pt x="3699" y="3805"/>
                  </a:lnTo>
                  <a:lnTo>
                    <a:pt x="1933" y="4436"/>
                  </a:lnTo>
                  <a:lnTo>
                    <a:pt x="109" y="3475"/>
                  </a:lnTo>
                  <a:lnTo>
                    <a:pt x="109" y="3326"/>
                  </a:lnTo>
                  <a:lnTo>
                    <a:pt x="1944" y="4292"/>
                  </a:lnTo>
                  <a:lnTo>
                    <a:pt x="3699" y="3666"/>
                  </a:lnTo>
                  <a:lnTo>
                    <a:pt x="3699" y="3478"/>
                  </a:lnTo>
                  <a:lnTo>
                    <a:pt x="1933" y="4107"/>
                  </a:lnTo>
                  <a:lnTo>
                    <a:pt x="0" y="3090"/>
                  </a:lnTo>
                  <a:lnTo>
                    <a:pt x="0" y="2942"/>
                  </a:lnTo>
                  <a:lnTo>
                    <a:pt x="1944" y="3965"/>
                  </a:lnTo>
                  <a:lnTo>
                    <a:pt x="3699" y="3338"/>
                  </a:lnTo>
                  <a:lnTo>
                    <a:pt x="3699" y="3149"/>
                  </a:lnTo>
                  <a:lnTo>
                    <a:pt x="1947" y="3775"/>
                  </a:lnTo>
                  <a:lnTo>
                    <a:pt x="1947" y="3636"/>
                  </a:lnTo>
                  <a:lnTo>
                    <a:pt x="3699" y="3010"/>
                  </a:lnTo>
                  <a:lnTo>
                    <a:pt x="3699" y="2822"/>
                  </a:lnTo>
                  <a:lnTo>
                    <a:pt x="1933" y="3453"/>
                  </a:lnTo>
                  <a:lnTo>
                    <a:pt x="0" y="2434"/>
                  </a:lnTo>
                  <a:lnTo>
                    <a:pt x="0" y="2286"/>
                  </a:lnTo>
                  <a:lnTo>
                    <a:pt x="1944" y="3309"/>
                  </a:lnTo>
                  <a:lnTo>
                    <a:pt x="3699" y="2683"/>
                  </a:lnTo>
                  <a:lnTo>
                    <a:pt x="3699" y="2495"/>
                  </a:lnTo>
                  <a:lnTo>
                    <a:pt x="2089" y="3069"/>
                  </a:lnTo>
                  <a:lnTo>
                    <a:pt x="2089" y="2931"/>
                  </a:lnTo>
                  <a:lnTo>
                    <a:pt x="3699" y="2356"/>
                  </a:lnTo>
                  <a:lnTo>
                    <a:pt x="3699" y="2121"/>
                  </a:lnTo>
                  <a:lnTo>
                    <a:pt x="1914" y="2760"/>
                  </a:lnTo>
                  <a:lnTo>
                    <a:pt x="26" y="1754"/>
                  </a:lnTo>
                  <a:lnTo>
                    <a:pt x="26" y="1507"/>
                  </a:lnTo>
                  <a:lnTo>
                    <a:pt x="1465" y="1022"/>
                  </a:lnTo>
                  <a:lnTo>
                    <a:pt x="1465" y="832"/>
                  </a:lnTo>
                  <a:lnTo>
                    <a:pt x="1468" y="832"/>
                  </a:lnTo>
                  <a:lnTo>
                    <a:pt x="2526" y="466"/>
                  </a:lnTo>
                  <a:lnTo>
                    <a:pt x="2753" y="587"/>
                  </a:lnTo>
                  <a:close/>
                  <a:moveTo>
                    <a:pt x="4475" y="276"/>
                  </a:moveTo>
                  <a:lnTo>
                    <a:pt x="3061" y="753"/>
                  </a:lnTo>
                  <a:lnTo>
                    <a:pt x="3154" y="803"/>
                  </a:lnTo>
                  <a:lnTo>
                    <a:pt x="3259" y="789"/>
                  </a:lnTo>
                  <a:lnTo>
                    <a:pt x="3364" y="777"/>
                  </a:lnTo>
                  <a:lnTo>
                    <a:pt x="3466" y="769"/>
                  </a:lnTo>
                  <a:lnTo>
                    <a:pt x="3567" y="765"/>
                  </a:lnTo>
                  <a:lnTo>
                    <a:pt x="3666" y="765"/>
                  </a:lnTo>
                  <a:lnTo>
                    <a:pt x="3712" y="765"/>
                  </a:lnTo>
                  <a:lnTo>
                    <a:pt x="3760" y="768"/>
                  </a:lnTo>
                  <a:lnTo>
                    <a:pt x="3805" y="771"/>
                  </a:lnTo>
                  <a:lnTo>
                    <a:pt x="3849" y="774"/>
                  </a:lnTo>
                  <a:lnTo>
                    <a:pt x="3894" y="779"/>
                  </a:lnTo>
                  <a:lnTo>
                    <a:pt x="3936" y="785"/>
                  </a:lnTo>
                  <a:lnTo>
                    <a:pt x="3977" y="792"/>
                  </a:lnTo>
                  <a:lnTo>
                    <a:pt x="4015" y="801"/>
                  </a:lnTo>
                  <a:lnTo>
                    <a:pt x="4054" y="809"/>
                  </a:lnTo>
                  <a:lnTo>
                    <a:pt x="4090" y="820"/>
                  </a:lnTo>
                  <a:lnTo>
                    <a:pt x="4126" y="832"/>
                  </a:lnTo>
                  <a:lnTo>
                    <a:pt x="4158" y="844"/>
                  </a:lnTo>
                  <a:lnTo>
                    <a:pt x="4189" y="857"/>
                  </a:lnTo>
                  <a:lnTo>
                    <a:pt x="4220" y="873"/>
                  </a:lnTo>
                  <a:lnTo>
                    <a:pt x="4247" y="889"/>
                  </a:lnTo>
                  <a:lnTo>
                    <a:pt x="4272" y="905"/>
                  </a:lnTo>
                  <a:lnTo>
                    <a:pt x="4295" y="924"/>
                  </a:lnTo>
                  <a:lnTo>
                    <a:pt x="4317" y="943"/>
                  </a:lnTo>
                  <a:lnTo>
                    <a:pt x="4336" y="964"/>
                  </a:lnTo>
                  <a:lnTo>
                    <a:pt x="4352" y="986"/>
                  </a:lnTo>
                  <a:lnTo>
                    <a:pt x="4367" y="1009"/>
                  </a:lnTo>
                  <a:lnTo>
                    <a:pt x="4379" y="1033"/>
                  </a:lnTo>
                  <a:lnTo>
                    <a:pt x="4387" y="1057"/>
                  </a:lnTo>
                  <a:lnTo>
                    <a:pt x="4394" y="1081"/>
                  </a:lnTo>
                  <a:lnTo>
                    <a:pt x="4397" y="1103"/>
                  </a:lnTo>
                  <a:lnTo>
                    <a:pt x="4397" y="1127"/>
                  </a:lnTo>
                  <a:lnTo>
                    <a:pt x="4397" y="1149"/>
                  </a:lnTo>
                  <a:lnTo>
                    <a:pt x="4392" y="1173"/>
                  </a:lnTo>
                  <a:lnTo>
                    <a:pt x="4387" y="1196"/>
                  </a:lnTo>
                  <a:lnTo>
                    <a:pt x="4379" y="1219"/>
                  </a:lnTo>
                  <a:lnTo>
                    <a:pt x="4370" y="1242"/>
                  </a:lnTo>
                  <a:lnTo>
                    <a:pt x="4359" y="1264"/>
                  </a:lnTo>
                  <a:lnTo>
                    <a:pt x="4344" y="1287"/>
                  </a:lnTo>
                  <a:lnTo>
                    <a:pt x="4330" y="1309"/>
                  </a:lnTo>
                  <a:lnTo>
                    <a:pt x="4312" y="1331"/>
                  </a:lnTo>
                  <a:lnTo>
                    <a:pt x="4295" y="1352"/>
                  </a:lnTo>
                  <a:lnTo>
                    <a:pt x="4276" y="1373"/>
                  </a:lnTo>
                  <a:lnTo>
                    <a:pt x="4255" y="1393"/>
                  </a:lnTo>
                  <a:lnTo>
                    <a:pt x="4542" y="1548"/>
                  </a:lnTo>
                  <a:lnTo>
                    <a:pt x="5967" y="1038"/>
                  </a:lnTo>
                  <a:lnTo>
                    <a:pt x="4475" y="276"/>
                  </a:lnTo>
                  <a:close/>
                  <a:moveTo>
                    <a:pt x="1912" y="3114"/>
                  </a:moveTo>
                  <a:lnTo>
                    <a:pt x="94" y="2156"/>
                  </a:lnTo>
                  <a:lnTo>
                    <a:pt x="94" y="2008"/>
                  </a:lnTo>
                  <a:lnTo>
                    <a:pt x="1912" y="2966"/>
                  </a:lnTo>
                  <a:lnTo>
                    <a:pt x="1912" y="3114"/>
                  </a:lnTo>
                  <a:close/>
                </a:path>
              </a:pathLst>
            </a:custGeom>
            <a:solidFill>
              <a:srgbClr val="F6BB4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200">
                <a:solidFill>
                  <a:schemeClr val="bg2">
                    <a:lumMod val="75000"/>
                  </a:schemeClr>
                </a:solidFill>
                <a:latin typeface="+mn-lt"/>
              </a:endParaRPr>
            </a:p>
          </p:txBody>
        </p:sp>
        <p:cxnSp>
          <p:nvCxnSpPr>
            <p:cNvPr id="52" name="Прямая со стрелкой 51"/>
            <p:cNvCxnSpPr/>
            <p:nvPr/>
          </p:nvCxnSpPr>
          <p:spPr>
            <a:xfrm rot="10800000" flipV="1">
              <a:off x="6864072" y="2972997"/>
              <a:ext cx="2041829" cy="1957730"/>
            </a:xfrm>
            <a:prstGeom prst="bentConnector3">
              <a:avLst>
                <a:gd name="adj1" fmla="val -436"/>
              </a:avLst>
            </a:prstGeom>
            <a:ln w="25400">
              <a:solidFill>
                <a:srgbClr val="00B0F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Freeform 46"/>
            <p:cNvSpPr>
              <a:spLocks noChangeAspect="1" noEditPoints="1"/>
            </p:cNvSpPr>
            <p:nvPr/>
          </p:nvSpPr>
          <p:spPr bwMode="auto">
            <a:xfrm>
              <a:off x="6064650" y="2417618"/>
              <a:ext cx="314258" cy="436113"/>
            </a:xfrm>
            <a:custGeom>
              <a:avLst/>
              <a:gdLst>
                <a:gd name="T0" fmla="*/ 2147483647 w 3426"/>
                <a:gd name="T1" fmla="*/ 2147483647 h 4763"/>
                <a:gd name="T2" fmla="*/ 2147483647 w 3426"/>
                <a:gd name="T3" fmla="*/ 2147483647 h 4763"/>
                <a:gd name="T4" fmla="*/ 2147483647 w 3426"/>
                <a:gd name="T5" fmla="*/ 2147483647 h 4763"/>
                <a:gd name="T6" fmla="*/ 2147483647 w 3426"/>
                <a:gd name="T7" fmla="*/ 2147483647 h 4763"/>
                <a:gd name="T8" fmla="*/ 2147483647 w 3426"/>
                <a:gd name="T9" fmla="*/ 2147483647 h 4763"/>
                <a:gd name="T10" fmla="*/ 2147483647 w 3426"/>
                <a:gd name="T11" fmla="*/ 2147483647 h 4763"/>
                <a:gd name="T12" fmla="*/ 2147483647 w 3426"/>
                <a:gd name="T13" fmla="*/ 2147483647 h 4763"/>
                <a:gd name="T14" fmla="*/ 2147483647 w 3426"/>
                <a:gd name="T15" fmla="*/ 2147483647 h 4763"/>
                <a:gd name="T16" fmla="*/ 2147483647 w 3426"/>
                <a:gd name="T17" fmla="*/ 2147483647 h 4763"/>
                <a:gd name="T18" fmla="*/ 2147483647 w 3426"/>
                <a:gd name="T19" fmla="*/ 2147483647 h 4763"/>
                <a:gd name="T20" fmla="*/ 2147483647 w 3426"/>
                <a:gd name="T21" fmla="*/ 2147483647 h 4763"/>
                <a:gd name="T22" fmla="*/ 2147483647 w 3426"/>
                <a:gd name="T23" fmla="*/ 2147483647 h 4763"/>
                <a:gd name="T24" fmla="*/ 2147483647 w 3426"/>
                <a:gd name="T25" fmla="*/ 2147483647 h 4763"/>
                <a:gd name="T26" fmla="*/ 2147483647 w 3426"/>
                <a:gd name="T27" fmla="*/ 2147483647 h 4763"/>
                <a:gd name="T28" fmla="*/ 2147483647 w 3426"/>
                <a:gd name="T29" fmla="*/ 2147483647 h 4763"/>
                <a:gd name="T30" fmla="*/ 2147483647 w 3426"/>
                <a:gd name="T31" fmla="*/ 2147483647 h 4763"/>
                <a:gd name="T32" fmla="*/ 2147483647 w 3426"/>
                <a:gd name="T33" fmla="*/ 2147483647 h 4763"/>
                <a:gd name="T34" fmla="*/ 2147483647 w 3426"/>
                <a:gd name="T35" fmla="*/ 2147483647 h 4763"/>
                <a:gd name="T36" fmla="*/ 2147483647 w 3426"/>
                <a:gd name="T37" fmla="*/ 2147483647 h 4763"/>
                <a:gd name="T38" fmla="*/ 2147483647 w 3426"/>
                <a:gd name="T39" fmla="*/ 2147483647 h 4763"/>
                <a:gd name="T40" fmla="*/ 2147483647 w 3426"/>
                <a:gd name="T41" fmla="*/ 2147483647 h 4763"/>
                <a:gd name="T42" fmla="*/ 2147483647 w 3426"/>
                <a:gd name="T43" fmla="*/ 2147483647 h 4763"/>
                <a:gd name="T44" fmla="*/ 2147483647 w 3426"/>
                <a:gd name="T45" fmla="*/ 2147483647 h 4763"/>
                <a:gd name="T46" fmla="*/ 2147483647 w 3426"/>
                <a:gd name="T47" fmla="*/ 2147483647 h 4763"/>
                <a:gd name="T48" fmla="*/ 2147483647 w 3426"/>
                <a:gd name="T49" fmla="*/ 2147483647 h 4763"/>
                <a:gd name="T50" fmla="*/ 2147483647 w 3426"/>
                <a:gd name="T51" fmla="*/ 2147483647 h 4763"/>
                <a:gd name="T52" fmla="*/ 2147483647 w 3426"/>
                <a:gd name="T53" fmla="*/ 2147483647 h 4763"/>
                <a:gd name="T54" fmla="*/ 2147483647 w 3426"/>
                <a:gd name="T55" fmla="*/ 2147483647 h 4763"/>
                <a:gd name="T56" fmla="*/ 2147483647 w 3426"/>
                <a:gd name="T57" fmla="*/ 2147483647 h 4763"/>
                <a:gd name="T58" fmla="*/ 2147483647 w 3426"/>
                <a:gd name="T59" fmla="*/ 2147483647 h 4763"/>
                <a:gd name="T60" fmla="*/ 2147483647 w 3426"/>
                <a:gd name="T61" fmla="*/ 2147483647 h 4763"/>
                <a:gd name="T62" fmla="*/ 2147483647 w 3426"/>
                <a:gd name="T63" fmla="*/ 2147483647 h 4763"/>
                <a:gd name="T64" fmla="*/ 2147483647 w 3426"/>
                <a:gd name="T65" fmla="*/ 2147483647 h 4763"/>
                <a:gd name="T66" fmla="*/ 2147483647 w 3426"/>
                <a:gd name="T67" fmla="*/ 2147483647 h 4763"/>
                <a:gd name="T68" fmla="*/ 2147483647 w 3426"/>
                <a:gd name="T69" fmla="*/ 2147483647 h 4763"/>
                <a:gd name="T70" fmla="*/ 2147483647 w 3426"/>
                <a:gd name="T71" fmla="*/ 2147483647 h 4763"/>
                <a:gd name="T72" fmla="*/ 2147483647 w 3426"/>
                <a:gd name="T73" fmla="*/ 2147483647 h 4763"/>
                <a:gd name="T74" fmla="*/ 2147483647 w 3426"/>
                <a:gd name="T75" fmla="*/ 2147483647 h 4763"/>
                <a:gd name="T76" fmla="*/ 2147483647 w 3426"/>
                <a:gd name="T77" fmla="*/ 2147483647 h 4763"/>
                <a:gd name="T78" fmla="*/ 2147483647 w 3426"/>
                <a:gd name="T79" fmla="*/ 2147483647 h 4763"/>
                <a:gd name="T80" fmla="*/ 2147483647 w 3426"/>
                <a:gd name="T81" fmla="*/ 2147483647 h 4763"/>
                <a:gd name="T82" fmla="*/ 2147483647 w 3426"/>
                <a:gd name="T83" fmla="*/ 2147483647 h 4763"/>
                <a:gd name="T84" fmla="*/ 2147483647 w 3426"/>
                <a:gd name="T85" fmla="*/ 2147483647 h 4763"/>
                <a:gd name="T86" fmla="*/ 2147483647 w 3426"/>
                <a:gd name="T87" fmla="*/ 2147483647 h 4763"/>
                <a:gd name="T88" fmla="*/ 2147483647 w 3426"/>
                <a:gd name="T89" fmla="*/ 2147483647 h 4763"/>
                <a:gd name="T90" fmla="*/ 2147483647 w 3426"/>
                <a:gd name="T91" fmla="*/ 2147483647 h 4763"/>
                <a:gd name="T92" fmla="*/ 2147483647 w 3426"/>
                <a:gd name="T93" fmla="*/ 2147483647 h 4763"/>
                <a:gd name="T94" fmla="*/ 2147483647 w 3426"/>
                <a:gd name="T95" fmla="*/ 2147483647 h 4763"/>
                <a:gd name="T96" fmla="*/ 2147483647 w 3426"/>
                <a:gd name="T97" fmla="*/ 2147483647 h 4763"/>
                <a:gd name="T98" fmla="*/ 2147483647 w 3426"/>
                <a:gd name="T99" fmla="*/ 2147483647 h 4763"/>
                <a:gd name="T100" fmla="*/ 2147483647 w 3426"/>
                <a:gd name="T101" fmla="*/ 2147483647 h 4763"/>
                <a:gd name="T102" fmla="*/ 2147483647 w 3426"/>
                <a:gd name="T103" fmla="*/ 2147483647 h 4763"/>
                <a:gd name="T104" fmla="*/ 2147483647 w 3426"/>
                <a:gd name="T105" fmla="*/ 2147483647 h 4763"/>
                <a:gd name="T106" fmla="*/ 2147483647 w 3426"/>
                <a:gd name="T107" fmla="*/ 2147483647 h 4763"/>
                <a:gd name="T108" fmla="*/ 2147483647 w 3426"/>
                <a:gd name="T109" fmla="*/ 2147483647 h 4763"/>
                <a:gd name="T110" fmla="*/ 2147483647 w 3426"/>
                <a:gd name="T111" fmla="*/ 2147483647 h 4763"/>
                <a:gd name="T112" fmla="*/ 2147483647 w 3426"/>
                <a:gd name="T113" fmla="*/ 2147483647 h 4763"/>
                <a:gd name="T114" fmla="*/ 2147483647 w 3426"/>
                <a:gd name="T115" fmla="*/ 2147483647 h 4763"/>
                <a:gd name="T116" fmla="*/ 2147483647 w 3426"/>
                <a:gd name="T117" fmla="*/ 2147483647 h 4763"/>
                <a:gd name="T118" fmla="*/ 2147483647 w 3426"/>
                <a:gd name="T119" fmla="*/ 2147483647 h 4763"/>
                <a:gd name="T120" fmla="*/ 2147483647 w 3426"/>
                <a:gd name="T121" fmla="*/ 2147483647 h 4763"/>
                <a:gd name="T122" fmla="*/ 2147483647 w 3426"/>
                <a:gd name="T123" fmla="*/ 2147483647 h 4763"/>
                <a:gd name="T124" fmla="*/ 2147483647 w 3426"/>
                <a:gd name="T125" fmla="*/ 2147483647 h 476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426"/>
                <a:gd name="T190" fmla="*/ 0 h 4763"/>
                <a:gd name="T191" fmla="*/ 3426 w 3426"/>
                <a:gd name="T192" fmla="*/ 4763 h 476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426" h="4763">
                  <a:moveTo>
                    <a:pt x="612" y="2471"/>
                  </a:moveTo>
                  <a:lnTo>
                    <a:pt x="612" y="2471"/>
                  </a:lnTo>
                  <a:lnTo>
                    <a:pt x="612" y="2455"/>
                  </a:lnTo>
                  <a:lnTo>
                    <a:pt x="615" y="2441"/>
                  </a:lnTo>
                  <a:lnTo>
                    <a:pt x="619" y="2426"/>
                  </a:lnTo>
                  <a:lnTo>
                    <a:pt x="625" y="2412"/>
                  </a:lnTo>
                  <a:lnTo>
                    <a:pt x="631" y="2398"/>
                  </a:lnTo>
                  <a:lnTo>
                    <a:pt x="638" y="2386"/>
                  </a:lnTo>
                  <a:lnTo>
                    <a:pt x="648" y="2374"/>
                  </a:lnTo>
                  <a:lnTo>
                    <a:pt x="657" y="2363"/>
                  </a:lnTo>
                  <a:lnTo>
                    <a:pt x="668" y="2354"/>
                  </a:lnTo>
                  <a:lnTo>
                    <a:pt x="679" y="2344"/>
                  </a:lnTo>
                  <a:lnTo>
                    <a:pt x="692" y="2337"/>
                  </a:lnTo>
                  <a:lnTo>
                    <a:pt x="705" y="2331"/>
                  </a:lnTo>
                  <a:lnTo>
                    <a:pt x="719" y="2325"/>
                  </a:lnTo>
                  <a:lnTo>
                    <a:pt x="734" y="2321"/>
                  </a:lnTo>
                  <a:lnTo>
                    <a:pt x="749" y="2319"/>
                  </a:lnTo>
                  <a:lnTo>
                    <a:pt x="765" y="2319"/>
                  </a:lnTo>
                  <a:lnTo>
                    <a:pt x="780" y="2319"/>
                  </a:lnTo>
                  <a:lnTo>
                    <a:pt x="796" y="2321"/>
                  </a:lnTo>
                  <a:lnTo>
                    <a:pt x="811" y="2325"/>
                  </a:lnTo>
                  <a:lnTo>
                    <a:pt x="824" y="2331"/>
                  </a:lnTo>
                  <a:lnTo>
                    <a:pt x="837" y="2337"/>
                  </a:lnTo>
                  <a:lnTo>
                    <a:pt x="850" y="2344"/>
                  </a:lnTo>
                  <a:lnTo>
                    <a:pt x="861" y="2354"/>
                  </a:lnTo>
                  <a:lnTo>
                    <a:pt x="872" y="2363"/>
                  </a:lnTo>
                  <a:lnTo>
                    <a:pt x="883" y="2374"/>
                  </a:lnTo>
                  <a:lnTo>
                    <a:pt x="892" y="2386"/>
                  </a:lnTo>
                  <a:lnTo>
                    <a:pt x="899" y="2398"/>
                  </a:lnTo>
                  <a:lnTo>
                    <a:pt x="905" y="2412"/>
                  </a:lnTo>
                  <a:lnTo>
                    <a:pt x="911" y="2426"/>
                  </a:lnTo>
                  <a:lnTo>
                    <a:pt x="914" y="2441"/>
                  </a:lnTo>
                  <a:lnTo>
                    <a:pt x="917" y="2455"/>
                  </a:lnTo>
                  <a:lnTo>
                    <a:pt x="917" y="2471"/>
                  </a:lnTo>
                  <a:lnTo>
                    <a:pt x="917" y="2487"/>
                  </a:lnTo>
                  <a:lnTo>
                    <a:pt x="914" y="2502"/>
                  </a:lnTo>
                  <a:lnTo>
                    <a:pt x="911" y="2517"/>
                  </a:lnTo>
                  <a:lnTo>
                    <a:pt x="905" y="2530"/>
                  </a:lnTo>
                  <a:lnTo>
                    <a:pt x="899" y="2543"/>
                  </a:lnTo>
                  <a:lnTo>
                    <a:pt x="892" y="2557"/>
                  </a:lnTo>
                  <a:lnTo>
                    <a:pt x="883" y="2569"/>
                  </a:lnTo>
                  <a:lnTo>
                    <a:pt x="872" y="2580"/>
                  </a:lnTo>
                  <a:lnTo>
                    <a:pt x="861" y="2589"/>
                  </a:lnTo>
                  <a:lnTo>
                    <a:pt x="850" y="2598"/>
                  </a:lnTo>
                  <a:lnTo>
                    <a:pt x="837" y="2605"/>
                  </a:lnTo>
                  <a:lnTo>
                    <a:pt x="824" y="2612"/>
                  </a:lnTo>
                  <a:lnTo>
                    <a:pt x="811" y="2617"/>
                  </a:lnTo>
                  <a:lnTo>
                    <a:pt x="796" y="2621"/>
                  </a:lnTo>
                  <a:lnTo>
                    <a:pt x="780" y="2623"/>
                  </a:lnTo>
                  <a:lnTo>
                    <a:pt x="765" y="2624"/>
                  </a:lnTo>
                  <a:lnTo>
                    <a:pt x="749" y="2623"/>
                  </a:lnTo>
                  <a:lnTo>
                    <a:pt x="734" y="2621"/>
                  </a:lnTo>
                  <a:lnTo>
                    <a:pt x="719" y="2617"/>
                  </a:lnTo>
                  <a:lnTo>
                    <a:pt x="705" y="2612"/>
                  </a:lnTo>
                  <a:lnTo>
                    <a:pt x="692" y="2605"/>
                  </a:lnTo>
                  <a:lnTo>
                    <a:pt x="679" y="2598"/>
                  </a:lnTo>
                  <a:lnTo>
                    <a:pt x="668" y="2589"/>
                  </a:lnTo>
                  <a:lnTo>
                    <a:pt x="657" y="2580"/>
                  </a:lnTo>
                  <a:lnTo>
                    <a:pt x="648" y="2569"/>
                  </a:lnTo>
                  <a:lnTo>
                    <a:pt x="638" y="2557"/>
                  </a:lnTo>
                  <a:lnTo>
                    <a:pt x="631" y="2543"/>
                  </a:lnTo>
                  <a:lnTo>
                    <a:pt x="625" y="2530"/>
                  </a:lnTo>
                  <a:lnTo>
                    <a:pt x="619" y="2517"/>
                  </a:lnTo>
                  <a:lnTo>
                    <a:pt x="615" y="2502"/>
                  </a:lnTo>
                  <a:lnTo>
                    <a:pt x="612" y="2487"/>
                  </a:lnTo>
                  <a:lnTo>
                    <a:pt x="612" y="2471"/>
                  </a:lnTo>
                  <a:close/>
                  <a:moveTo>
                    <a:pt x="3160" y="901"/>
                  </a:moveTo>
                  <a:lnTo>
                    <a:pt x="2532" y="272"/>
                  </a:lnTo>
                  <a:lnTo>
                    <a:pt x="2532" y="901"/>
                  </a:lnTo>
                  <a:lnTo>
                    <a:pt x="3160" y="901"/>
                  </a:lnTo>
                  <a:close/>
                  <a:moveTo>
                    <a:pt x="193" y="193"/>
                  </a:moveTo>
                  <a:lnTo>
                    <a:pt x="193" y="4570"/>
                  </a:lnTo>
                  <a:lnTo>
                    <a:pt x="3232" y="4570"/>
                  </a:lnTo>
                  <a:lnTo>
                    <a:pt x="3233" y="1288"/>
                  </a:lnTo>
                  <a:lnTo>
                    <a:pt x="3426" y="1288"/>
                  </a:lnTo>
                  <a:lnTo>
                    <a:pt x="3425" y="4763"/>
                  </a:lnTo>
                  <a:lnTo>
                    <a:pt x="0" y="4763"/>
                  </a:lnTo>
                  <a:lnTo>
                    <a:pt x="0" y="0"/>
                  </a:lnTo>
                  <a:lnTo>
                    <a:pt x="2533" y="0"/>
                  </a:lnTo>
                  <a:lnTo>
                    <a:pt x="3426" y="894"/>
                  </a:lnTo>
                  <a:lnTo>
                    <a:pt x="3426" y="1095"/>
                  </a:lnTo>
                  <a:lnTo>
                    <a:pt x="2339" y="1095"/>
                  </a:lnTo>
                  <a:lnTo>
                    <a:pt x="2339" y="193"/>
                  </a:lnTo>
                  <a:lnTo>
                    <a:pt x="193" y="193"/>
                  </a:lnTo>
                  <a:close/>
                  <a:moveTo>
                    <a:pt x="1167" y="1806"/>
                  </a:moveTo>
                  <a:lnTo>
                    <a:pt x="2824" y="1806"/>
                  </a:lnTo>
                  <a:lnTo>
                    <a:pt x="2824" y="1903"/>
                  </a:lnTo>
                  <a:lnTo>
                    <a:pt x="1167" y="1903"/>
                  </a:lnTo>
                  <a:lnTo>
                    <a:pt x="1167" y="1806"/>
                  </a:lnTo>
                  <a:close/>
                  <a:moveTo>
                    <a:pt x="1167" y="2423"/>
                  </a:moveTo>
                  <a:lnTo>
                    <a:pt x="2824" y="2423"/>
                  </a:lnTo>
                  <a:lnTo>
                    <a:pt x="2824" y="2519"/>
                  </a:lnTo>
                  <a:lnTo>
                    <a:pt x="1167" y="2519"/>
                  </a:lnTo>
                  <a:lnTo>
                    <a:pt x="1167" y="2423"/>
                  </a:lnTo>
                  <a:close/>
                  <a:moveTo>
                    <a:pt x="1167" y="3039"/>
                  </a:moveTo>
                  <a:lnTo>
                    <a:pt x="2824" y="3039"/>
                  </a:lnTo>
                  <a:lnTo>
                    <a:pt x="2824" y="3135"/>
                  </a:lnTo>
                  <a:lnTo>
                    <a:pt x="1167" y="3135"/>
                  </a:lnTo>
                  <a:lnTo>
                    <a:pt x="1167" y="3039"/>
                  </a:lnTo>
                  <a:close/>
                  <a:moveTo>
                    <a:pt x="1167" y="3656"/>
                  </a:moveTo>
                  <a:lnTo>
                    <a:pt x="2341" y="3656"/>
                  </a:lnTo>
                  <a:lnTo>
                    <a:pt x="2341" y="3753"/>
                  </a:lnTo>
                  <a:lnTo>
                    <a:pt x="1167" y="3753"/>
                  </a:lnTo>
                  <a:lnTo>
                    <a:pt x="1167" y="3656"/>
                  </a:lnTo>
                  <a:close/>
                  <a:moveTo>
                    <a:pt x="612" y="1855"/>
                  </a:moveTo>
                  <a:lnTo>
                    <a:pt x="612" y="1855"/>
                  </a:lnTo>
                  <a:lnTo>
                    <a:pt x="612" y="1839"/>
                  </a:lnTo>
                  <a:lnTo>
                    <a:pt x="615" y="1823"/>
                  </a:lnTo>
                  <a:lnTo>
                    <a:pt x="619" y="1809"/>
                  </a:lnTo>
                  <a:lnTo>
                    <a:pt x="625" y="1794"/>
                  </a:lnTo>
                  <a:lnTo>
                    <a:pt x="631" y="1781"/>
                  </a:lnTo>
                  <a:lnTo>
                    <a:pt x="638" y="1769"/>
                  </a:lnTo>
                  <a:lnTo>
                    <a:pt x="648" y="1757"/>
                  </a:lnTo>
                  <a:lnTo>
                    <a:pt x="657" y="1746"/>
                  </a:lnTo>
                  <a:lnTo>
                    <a:pt x="668" y="1736"/>
                  </a:lnTo>
                  <a:lnTo>
                    <a:pt x="679" y="1728"/>
                  </a:lnTo>
                  <a:lnTo>
                    <a:pt x="692" y="1719"/>
                  </a:lnTo>
                  <a:lnTo>
                    <a:pt x="705" y="1713"/>
                  </a:lnTo>
                  <a:lnTo>
                    <a:pt x="719" y="1708"/>
                  </a:lnTo>
                  <a:lnTo>
                    <a:pt x="734" y="1705"/>
                  </a:lnTo>
                  <a:lnTo>
                    <a:pt x="749" y="1702"/>
                  </a:lnTo>
                  <a:lnTo>
                    <a:pt x="765" y="1701"/>
                  </a:lnTo>
                  <a:lnTo>
                    <a:pt x="780" y="1702"/>
                  </a:lnTo>
                  <a:lnTo>
                    <a:pt x="796" y="1705"/>
                  </a:lnTo>
                  <a:lnTo>
                    <a:pt x="811" y="1708"/>
                  </a:lnTo>
                  <a:lnTo>
                    <a:pt x="824" y="1713"/>
                  </a:lnTo>
                  <a:lnTo>
                    <a:pt x="837" y="1719"/>
                  </a:lnTo>
                  <a:lnTo>
                    <a:pt x="850" y="1728"/>
                  </a:lnTo>
                  <a:lnTo>
                    <a:pt x="861" y="1736"/>
                  </a:lnTo>
                  <a:lnTo>
                    <a:pt x="872" y="1746"/>
                  </a:lnTo>
                  <a:lnTo>
                    <a:pt x="883" y="1757"/>
                  </a:lnTo>
                  <a:lnTo>
                    <a:pt x="892" y="1769"/>
                  </a:lnTo>
                  <a:lnTo>
                    <a:pt x="899" y="1781"/>
                  </a:lnTo>
                  <a:lnTo>
                    <a:pt x="905" y="1794"/>
                  </a:lnTo>
                  <a:lnTo>
                    <a:pt x="911" y="1809"/>
                  </a:lnTo>
                  <a:lnTo>
                    <a:pt x="914" y="1823"/>
                  </a:lnTo>
                  <a:lnTo>
                    <a:pt x="917" y="1839"/>
                  </a:lnTo>
                  <a:lnTo>
                    <a:pt x="917" y="1855"/>
                  </a:lnTo>
                  <a:lnTo>
                    <a:pt x="917" y="1869"/>
                  </a:lnTo>
                  <a:lnTo>
                    <a:pt x="914" y="1885"/>
                  </a:lnTo>
                  <a:lnTo>
                    <a:pt x="911" y="1899"/>
                  </a:lnTo>
                  <a:lnTo>
                    <a:pt x="905" y="1914"/>
                  </a:lnTo>
                  <a:lnTo>
                    <a:pt x="899" y="1927"/>
                  </a:lnTo>
                  <a:lnTo>
                    <a:pt x="892" y="1939"/>
                  </a:lnTo>
                  <a:lnTo>
                    <a:pt x="883" y="1951"/>
                  </a:lnTo>
                  <a:lnTo>
                    <a:pt x="872" y="1962"/>
                  </a:lnTo>
                  <a:lnTo>
                    <a:pt x="861" y="1972"/>
                  </a:lnTo>
                  <a:lnTo>
                    <a:pt x="850" y="1980"/>
                  </a:lnTo>
                  <a:lnTo>
                    <a:pt x="837" y="1989"/>
                  </a:lnTo>
                  <a:lnTo>
                    <a:pt x="824" y="1995"/>
                  </a:lnTo>
                  <a:lnTo>
                    <a:pt x="811" y="2000"/>
                  </a:lnTo>
                  <a:lnTo>
                    <a:pt x="796" y="2003"/>
                  </a:lnTo>
                  <a:lnTo>
                    <a:pt x="780" y="2006"/>
                  </a:lnTo>
                  <a:lnTo>
                    <a:pt x="765" y="2007"/>
                  </a:lnTo>
                  <a:lnTo>
                    <a:pt x="749" y="2006"/>
                  </a:lnTo>
                  <a:lnTo>
                    <a:pt x="734" y="2003"/>
                  </a:lnTo>
                  <a:lnTo>
                    <a:pt x="719" y="2000"/>
                  </a:lnTo>
                  <a:lnTo>
                    <a:pt x="705" y="1995"/>
                  </a:lnTo>
                  <a:lnTo>
                    <a:pt x="692" y="1989"/>
                  </a:lnTo>
                  <a:lnTo>
                    <a:pt x="679" y="1980"/>
                  </a:lnTo>
                  <a:lnTo>
                    <a:pt x="668" y="1972"/>
                  </a:lnTo>
                  <a:lnTo>
                    <a:pt x="657" y="1962"/>
                  </a:lnTo>
                  <a:lnTo>
                    <a:pt x="648" y="1951"/>
                  </a:lnTo>
                  <a:lnTo>
                    <a:pt x="638" y="1939"/>
                  </a:lnTo>
                  <a:lnTo>
                    <a:pt x="631" y="1927"/>
                  </a:lnTo>
                  <a:lnTo>
                    <a:pt x="625" y="1914"/>
                  </a:lnTo>
                  <a:lnTo>
                    <a:pt x="619" y="1899"/>
                  </a:lnTo>
                  <a:lnTo>
                    <a:pt x="615" y="1885"/>
                  </a:lnTo>
                  <a:lnTo>
                    <a:pt x="612" y="1869"/>
                  </a:lnTo>
                  <a:lnTo>
                    <a:pt x="612" y="1855"/>
                  </a:lnTo>
                  <a:close/>
                  <a:moveTo>
                    <a:pt x="612" y="3088"/>
                  </a:moveTo>
                  <a:lnTo>
                    <a:pt x="612" y="3088"/>
                  </a:lnTo>
                  <a:lnTo>
                    <a:pt x="612" y="3073"/>
                  </a:lnTo>
                  <a:lnTo>
                    <a:pt x="615" y="3057"/>
                  </a:lnTo>
                  <a:lnTo>
                    <a:pt x="619" y="3042"/>
                  </a:lnTo>
                  <a:lnTo>
                    <a:pt x="625" y="3029"/>
                  </a:lnTo>
                  <a:lnTo>
                    <a:pt x="631" y="3016"/>
                  </a:lnTo>
                  <a:lnTo>
                    <a:pt x="638" y="3003"/>
                  </a:lnTo>
                  <a:lnTo>
                    <a:pt x="648" y="2990"/>
                  </a:lnTo>
                  <a:lnTo>
                    <a:pt x="657" y="2980"/>
                  </a:lnTo>
                  <a:lnTo>
                    <a:pt x="668" y="2970"/>
                  </a:lnTo>
                  <a:lnTo>
                    <a:pt x="679" y="2961"/>
                  </a:lnTo>
                  <a:lnTo>
                    <a:pt x="692" y="2954"/>
                  </a:lnTo>
                  <a:lnTo>
                    <a:pt x="705" y="2947"/>
                  </a:lnTo>
                  <a:lnTo>
                    <a:pt x="719" y="2942"/>
                  </a:lnTo>
                  <a:lnTo>
                    <a:pt x="734" y="2939"/>
                  </a:lnTo>
                  <a:lnTo>
                    <a:pt x="749" y="2936"/>
                  </a:lnTo>
                  <a:lnTo>
                    <a:pt x="765" y="2935"/>
                  </a:lnTo>
                  <a:lnTo>
                    <a:pt x="780" y="2936"/>
                  </a:lnTo>
                  <a:lnTo>
                    <a:pt x="796" y="2939"/>
                  </a:lnTo>
                  <a:lnTo>
                    <a:pt x="811" y="2942"/>
                  </a:lnTo>
                  <a:lnTo>
                    <a:pt x="824" y="2947"/>
                  </a:lnTo>
                  <a:lnTo>
                    <a:pt x="837" y="2954"/>
                  </a:lnTo>
                  <a:lnTo>
                    <a:pt x="850" y="2961"/>
                  </a:lnTo>
                  <a:lnTo>
                    <a:pt x="861" y="2970"/>
                  </a:lnTo>
                  <a:lnTo>
                    <a:pt x="872" y="2980"/>
                  </a:lnTo>
                  <a:lnTo>
                    <a:pt x="883" y="2990"/>
                  </a:lnTo>
                  <a:lnTo>
                    <a:pt x="892" y="3003"/>
                  </a:lnTo>
                  <a:lnTo>
                    <a:pt x="899" y="3016"/>
                  </a:lnTo>
                  <a:lnTo>
                    <a:pt x="905" y="3029"/>
                  </a:lnTo>
                  <a:lnTo>
                    <a:pt x="911" y="3042"/>
                  </a:lnTo>
                  <a:lnTo>
                    <a:pt x="914" y="3057"/>
                  </a:lnTo>
                  <a:lnTo>
                    <a:pt x="917" y="3073"/>
                  </a:lnTo>
                  <a:lnTo>
                    <a:pt x="917" y="3088"/>
                  </a:lnTo>
                  <a:lnTo>
                    <a:pt x="917" y="3104"/>
                  </a:lnTo>
                  <a:lnTo>
                    <a:pt x="914" y="3119"/>
                  </a:lnTo>
                  <a:lnTo>
                    <a:pt x="911" y="3133"/>
                  </a:lnTo>
                  <a:lnTo>
                    <a:pt x="905" y="3148"/>
                  </a:lnTo>
                  <a:lnTo>
                    <a:pt x="899" y="3161"/>
                  </a:lnTo>
                  <a:lnTo>
                    <a:pt x="892" y="3173"/>
                  </a:lnTo>
                  <a:lnTo>
                    <a:pt x="883" y="3185"/>
                  </a:lnTo>
                  <a:lnTo>
                    <a:pt x="872" y="3196"/>
                  </a:lnTo>
                  <a:lnTo>
                    <a:pt x="861" y="3206"/>
                  </a:lnTo>
                  <a:lnTo>
                    <a:pt x="850" y="3215"/>
                  </a:lnTo>
                  <a:lnTo>
                    <a:pt x="837" y="3222"/>
                  </a:lnTo>
                  <a:lnTo>
                    <a:pt x="824" y="3228"/>
                  </a:lnTo>
                  <a:lnTo>
                    <a:pt x="811" y="3233"/>
                  </a:lnTo>
                  <a:lnTo>
                    <a:pt x="796" y="3238"/>
                  </a:lnTo>
                  <a:lnTo>
                    <a:pt x="780" y="3239"/>
                  </a:lnTo>
                  <a:lnTo>
                    <a:pt x="765" y="3241"/>
                  </a:lnTo>
                  <a:lnTo>
                    <a:pt x="749" y="3239"/>
                  </a:lnTo>
                  <a:lnTo>
                    <a:pt x="734" y="3238"/>
                  </a:lnTo>
                  <a:lnTo>
                    <a:pt x="719" y="3233"/>
                  </a:lnTo>
                  <a:lnTo>
                    <a:pt x="705" y="3228"/>
                  </a:lnTo>
                  <a:lnTo>
                    <a:pt x="692" y="3222"/>
                  </a:lnTo>
                  <a:lnTo>
                    <a:pt x="679" y="3215"/>
                  </a:lnTo>
                  <a:lnTo>
                    <a:pt x="668" y="3206"/>
                  </a:lnTo>
                  <a:lnTo>
                    <a:pt x="657" y="3196"/>
                  </a:lnTo>
                  <a:lnTo>
                    <a:pt x="648" y="3185"/>
                  </a:lnTo>
                  <a:lnTo>
                    <a:pt x="638" y="3173"/>
                  </a:lnTo>
                  <a:lnTo>
                    <a:pt x="631" y="3161"/>
                  </a:lnTo>
                  <a:lnTo>
                    <a:pt x="625" y="3148"/>
                  </a:lnTo>
                  <a:lnTo>
                    <a:pt x="619" y="3133"/>
                  </a:lnTo>
                  <a:lnTo>
                    <a:pt x="615" y="3119"/>
                  </a:lnTo>
                  <a:lnTo>
                    <a:pt x="612" y="3104"/>
                  </a:lnTo>
                  <a:lnTo>
                    <a:pt x="612" y="3088"/>
                  </a:lnTo>
                  <a:close/>
                  <a:moveTo>
                    <a:pt x="612" y="3705"/>
                  </a:moveTo>
                  <a:lnTo>
                    <a:pt x="612" y="3705"/>
                  </a:lnTo>
                  <a:lnTo>
                    <a:pt x="612" y="3689"/>
                  </a:lnTo>
                  <a:lnTo>
                    <a:pt x="615" y="3674"/>
                  </a:lnTo>
                  <a:lnTo>
                    <a:pt x="619" y="3660"/>
                  </a:lnTo>
                  <a:lnTo>
                    <a:pt x="625" y="3645"/>
                  </a:lnTo>
                  <a:lnTo>
                    <a:pt x="631" y="3632"/>
                  </a:lnTo>
                  <a:lnTo>
                    <a:pt x="638" y="3620"/>
                  </a:lnTo>
                  <a:lnTo>
                    <a:pt x="648" y="3608"/>
                  </a:lnTo>
                  <a:lnTo>
                    <a:pt x="657" y="3597"/>
                  </a:lnTo>
                  <a:lnTo>
                    <a:pt x="668" y="3587"/>
                  </a:lnTo>
                  <a:lnTo>
                    <a:pt x="679" y="3579"/>
                  </a:lnTo>
                  <a:lnTo>
                    <a:pt x="692" y="3570"/>
                  </a:lnTo>
                  <a:lnTo>
                    <a:pt x="705" y="3564"/>
                  </a:lnTo>
                  <a:lnTo>
                    <a:pt x="719" y="3560"/>
                  </a:lnTo>
                  <a:lnTo>
                    <a:pt x="734" y="3556"/>
                  </a:lnTo>
                  <a:lnTo>
                    <a:pt x="749" y="3554"/>
                  </a:lnTo>
                  <a:lnTo>
                    <a:pt x="765" y="3552"/>
                  </a:lnTo>
                  <a:lnTo>
                    <a:pt x="780" y="3554"/>
                  </a:lnTo>
                  <a:lnTo>
                    <a:pt x="796" y="3556"/>
                  </a:lnTo>
                  <a:lnTo>
                    <a:pt x="811" y="3560"/>
                  </a:lnTo>
                  <a:lnTo>
                    <a:pt x="824" y="3564"/>
                  </a:lnTo>
                  <a:lnTo>
                    <a:pt x="837" y="3570"/>
                  </a:lnTo>
                  <a:lnTo>
                    <a:pt x="850" y="3579"/>
                  </a:lnTo>
                  <a:lnTo>
                    <a:pt x="861" y="3587"/>
                  </a:lnTo>
                  <a:lnTo>
                    <a:pt x="872" y="3597"/>
                  </a:lnTo>
                  <a:lnTo>
                    <a:pt x="883" y="3608"/>
                  </a:lnTo>
                  <a:lnTo>
                    <a:pt x="892" y="3620"/>
                  </a:lnTo>
                  <a:lnTo>
                    <a:pt x="899" y="3632"/>
                  </a:lnTo>
                  <a:lnTo>
                    <a:pt x="905" y="3645"/>
                  </a:lnTo>
                  <a:lnTo>
                    <a:pt x="911" y="3660"/>
                  </a:lnTo>
                  <a:lnTo>
                    <a:pt x="914" y="3674"/>
                  </a:lnTo>
                  <a:lnTo>
                    <a:pt x="917" y="3689"/>
                  </a:lnTo>
                  <a:lnTo>
                    <a:pt x="917" y="3705"/>
                  </a:lnTo>
                  <a:lnTo>
                    <a:pt x="917" y="3720"/>
                  </a:lnTo>
                  <a:lnTo>
                    <a:pt x="914" y="3736"/>
                  </a:lnTo>
                  <a:lnTo>
                    <a:pt x="911" y="3750"/>
                  </a:lnTo>
                  <a:lnTo>
                    <a:pt x="905" y="3765"/>
                  </a:lnTo>
                  <a:lnTo>
                    <a:pt x="899" y="3778"/>
                  </a:lnTo>
                  <a:lnTo>
                    <a:pt x="892" y="3790"/>
                  </a:lnTo>
                  <a:lnTo>
                    <a:pt x="883" y="3802"/>
                  </a:lnTo>
                  <a:lnTo>
                    <a:pt x="872" y="3813"/>
                  </a:lnTo>
                  <a:lnTo>
                    <a:pt x="861" y="3823"/>
                  </a:lnTo>
                  <a:lnTo>
                    <a:pt x="850" y="3831"/>
                  </a:lnTo>
                  <a:lnTo>
                    <a:pt x="837" y="3839"/>
                  </a:lnTo>
                  <a:lnTo>
                    <a:pt x="824" y="3846"/>
                  </a:lnTo>
                  <a:lnTo>
                    <a:pt x="811" y="3851"/>
                  </a:lnTo>
                  <a:lnTo>
                    <a:pt x="796" y="3854"/>
                  </a:lnTo>
                  <a:lnTo>
                    <a:pt x="780" y="3857"/>
                  </a:lnTo>
                  <a:lnTo>
                    <a:pt x="765" y="3858"/>
                  </a:lnTo>
                  <a:lnTo>
                    <a:pt x="749" y="3857"/>
                  </a:lnTo>
                  <a:lnTo>
                    <a:pt x="734" y="3854"/>
                  </a:lnTo>
                  <a:lnTo>
                    <a:pt x="719" y="3851"/>
                  </a:lnTo>
                  <a:lnTo>
                    <a:pt x="705" y="3846"/>
                  </a:lnTo>
                  <a:lnTo>
                    <a:pt x="692" y="3839"/>
                  </a:lnTo>
                  <a:lnTo>
                    <a:pt x="679" y="3831"/>
                  </a:lnTo>
                  <a:lnTo>
                    <a:pt x="668" y="3823"/>
                  </a:lnTo>
                  <a:lnTo>
                    <a:pt x="657" y="3813"/>
                  </a:lnTo>
                  <a:lnTo>
                    <a:pt x="648" y="3802"/>
                  </a:lnTo>
                  <a:lnTo>
                    <a:pt x="638" y="3790"/>
                  </a:lnTo>
                  <a:lnTo>
                    <a:pt x="631" y="3778"/>
                  </a:lnTo>
                  <a:lnTo>
                    <a:pt x="625" y="3765"/>
                  </a:lnTo>
                  <a:lnTo>
                    <a:pt x="619" y="3750"/>
                  </a:lnTo>
                  <a:lnTo>
                    <a:pt x="615" y="3736"/>
                  </a:lnTo>
                  <a:lnTo>
                    <a:pt x="612" y="3720"/>
                  </a:lnTo>
                  <a:lnTo>
                    <a:pt x="612" y="3705"/>
                  </a:lnTo>
                  <a:close/>
                </a:path>
              </a:pathLst>
            </a:custGeom>
            <a:solidFill>
              <a:srgbClr val="14AA9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charset="0"/>
              </a:endParaRPr>
            </a:p>
          </p:txBody>
        </p:sp>
        <p:sp>
          <p:nvSpPr>
            <p:cNvPr id="59" name="Freeform 112"/>
            <p:cNvSpPr>
              <a:spLocks noChangeAspect="1" noEditPoints="1"/>
            </p:cNvSpPr>
            <p:nvPr/>
          </p:nvSpPr>
          <p:spPr bwMode="auto">
            <a:xfrm>
              <a:off x="6036135" y="1557587"/>
              <a:ext cx="350580" cy="436113"/>
            </a:xfrm>
            <a:custGeom>
              <a:avLst/>
              <a:gdLst>
                <a:gd name="T0" fmla="*/ 2147483647 w 3822"/>
                <a:gd name="T1" fmla="*/ 2147483647 h 4763"/>
                <a:gd name="T2" fmla="*/ 2147483647 w 3822"/>
                <a:gd name="T3" fmla="*/ 2147483647 h 4763"/>
                <a:gd name="T4" fmla="*/ 2147483647 w 3822"/>
                <a:gd name="T5" fmla="*/ 2147483647 h 4763"/>
                <a:gd name="T6" fmla="*/ 2147483647 w 3822"/>
                <a:gd name="T7" fmla="*/ 2147483647 h 4763"/>
                <a:gd name="T8" fmla="*/ 2147483647 w 3822"/>
                <a:gd name="T9" fmla="*/ 2147483647 h 4763"/>
                <a:gd name="T10" fmla="*/ 2147483647 w 3822"/>
                <a:gd name="T11" fmla="*/ 2147483647 h 4763"/>
                <a:gd name="T12" fmla="*/ 2147483647 w 3822"/>
                <a:gd name="T13" fmla="*/ 2147483647 h 4763"/>
                <a:gd name="T14" fmla="*/ 2147483647 w 3822"/>
                <a:gd name="T15" fmla="*/ 2147483647 h 4763"/>
                <a:gd name="T16" fmla="*/ 2147483647 w 3822"/>
                <a:gd name="T17" fmla="*/ 2147483647 h 4763"/>
                <a:gd name="T18" fmla="*/ 2147483647 w 3822"/>
                <a:gd name="T19" fmla="*/ 0 h 4763"/>
                <a:gd name="T20" fmla="*/ 2147483647 w 3822"/>
                <a:gd name="T21" fmla="*/ 2147483647 h 4763"/>
                <a:gd name="T22" fmla="*/ 2147483647 w 3822"/>
                <a:gd name="T23" fmla="*/ 2147483647 h 4763"/>
                <a:gd name="T24" fmla="*/ 2147483647 w 3822"/>
                <a:gd name="T25" fmla="*/ 2147483647 h 4763"/>
                <a:gd name="T26" fmla="*/ 2147483647 w 3822"/>
                <a:gd name="T27" fmla="*/ 2147483647 h 4763"/>
                <a:gd name="T28" fmla="*/ 2147483647 w 3822"/>
                <a:gd name="T29" fmla="*/ 2147483647 h 4763"/>
                <a:gd name="T30" fmla="*/ 2147483647 w 3822"/>
                <a:gd name="T31" fmla="*/ 2147483647 h 4763"/>
                <a:gd name="T32" fmla="*/ 2147483647 w 3822"/>
                <a:gd name="T33" fmla="*/ 2147483647 h 4763"/>
                <a:gd name="T34" fmla="*/ 2147483647 w 3822"/>
                <a:gd name="T35" fmla="*/ 2147483647 h 4763"/>
                <a:gd name="T36" fmla="*/ 2147483647 w 3822"/>
                <a:gd name="T37" fmla="*/ 2147483647 h 4763"/>
                <a:gd name="T38" fmla="*/ 2147483647 w 3822"/>
                <a:gd name="T39" fmla="*/ 2147483647 h 4763"/>
                <a:gd name="T40" fmla="*/ 2147483647 w 3822"/>
                <a:gd name="T41" fmla="*/ 2147483647 h 4763"/>
                <a:gd name="T42" fmla="*/ 2147483647 w 3822"/>
                <a:gd name="T43" fmla="*/ 2147483647 h 4763"/>
                <a:gd name="T44" fmla="*/ 2147483647 w 3822"/>
                <a:gd name="T45" fmla="*/ 2147483647 h 4763"/>
                <a:gd name="T46" fmla="*/ 2147483647 w 3822"/>
                <a:gd name="T47" fmla="*/ 2147483647 h 4763"/>
                <a:gd name="T48" fmla="*/ 2147483647 w 3822"/>
                <a:gd name="T49" fmla="*/ 2147483647 h 4763"/>
                <a:gd name="T50" fmla="*/ 2147483647 w 3822"/>
                <a:gd name="T51" fmla="*/ 2147483647 h 4763"/>
                <a:gd name="T52" fmla="*/ 2147483647 w 3822"/>
                <a:gd name="T53" fmla="*/ 2147483647 h 4763"/>
                <a:gd name="T54" fmla="*/ 2147483647 w 3822"/>
                <a:gd name="T55" fmla="*/ 2147483647 h 4763"/>
                <a:gd name="T56" fmla="*/ 2147483647 w 3822"/>
                <a:gd name="T57" fmla="*/ 2147483647 h 4763"/>
                <a:gd name="T58" fmla="*/ 2147483647 w 3822"/>
                <a:gd name="T59" fmla="*/ 2147483647 h 4763"/>
                <a:gd name="T60" fmla="*/ 2147483647 w 3822"/>
                <a:gd name="T61" fmla="*/ 2147483647 h 4763"/>
                <a:gd name="T62" fmla="*/ 2147483647 w 3822"/>
                <a:gd name="T63" fmla="*/ 2147483647 h 4763"/>
                <a:gd name="T64" fmla="*/ 2147483647 w 3822"/>
                <a:gd name="T65" fmla="*/ 2147483647 h 4763"/>
                <a:gd name="T66" fmla="*/ 2147483647 w 3822"/>
                <a:gd name="T67" fmla="*/ 2147483647 h 4763"/>
                <a:gd name="T68" fmla="*/ 2147483647 w 3822"/>
                <a:gd name="T69" fmla="*/ 2147483647 h 4763"/>
                <a:gd name="T70" fmla="*/ 2147483647 w 3822"/>
                <a:gd name="T71" fmla="*/ 2147483647 h 4763"/>
                <a:gd name="T72" fmla="*/ 2147483647 w 3822"/>
                <a:gd name="T73" fmla="*/ 2147483647 h 4763"/>
                <a:gd name="T74" fmla="*/ 2147483647 w 3822"/>
                <a:gd name="T75" fmla="*/ 2147483647 h 4763"/>
                <a:gd name="T76" fmla="*/ 2147483647 w 3822"/>
                <a:gd name="T77" fmla="*/ 2147483647 h 4763"/>
                <a:gd name="T78" fmla="*/ 2147483647 w 3822"/>
                <a:gd name="T79" fmla="*/ 2147483647 h 4763"/>
                <a:gd name="T80" fmla="*/ 2147483647 w 3822"/>
                <a:gd name="T81" fmla="*/ 2147483647 h 4763"/>
                <a:gd name="T82" fmla="*/ 2147483647 w 3822"/>
                <a:gd name="T83" fmla="*/ 2147483647 h 4763"/>
                <a:gd name="T84" fmla="*/ 2147483647 w 3822"/>
                <a:gd name="T85" fmla="*/ 2147483647 h 4763"/>
                <a:gd name="T86" fmla="*/ 2147483647 w 3822"/>
                <a:gd name="T87" fmla="*/ 2147483647 h 4763"/>
                <a:gd name="T88" fmla="*/ 2147483647 w 3822"/>
                <a:gd name="T89" fmla="*/ 2147483647 h 4763"/>
                <a:gd name="T90" fmla="*/ 2147483647 w 3822"/>
                <a:gd name="T91" fmla="*/ 2147483647 h 4763"/>
                <a:gd name="T92" fmla="*/ 2147483647 w 3822"/>
                <a:gd name="T93" fmla="*/ 2147483647 h 4763"/>
                <a:gd name="T94" fmla="*/ 2147483647 w 3822"/>
                <a:gd name="T95" fmla="*/ 2147483647 h 4763"/>
                <a:gd name="T96" fmla="*/ 2147483647 w 3822"/>
                <a:gd name="T97" fmla="*/ 2147483647 h 4763"/>
                <a:gd name="T98" fmla="*/ 2147483647 w 3822"/>
                <a:gd name="T99" fmla="*/ 2147483647 h 4763"/>
                <a:gd name="T100" fmla="*/ 2147483647 w 3822"/>
                <a:gd name="T101" fmla="*/ 2147483647 h 4763"/>
                <a:gd name="T102" fmla="*/ 2147483647 w 3822"/>
                <a:gd name="T103" fmla="*/ 2147483647 h 4763"/>
                <a:gd name="T104" fmla="*/ 2147483647 w 3822"/>
                <a:gd name="T105" fmla="*/ 2147483647 h 4763"/>
                <a:gd name="T106" fmla="*/ 2147483647 w 3822"/>
                <a:gd name="T107" fmla="*/ 2147483647 h 4763"/>
                <a:gd name="T108" fmla="*/ 2147483647 w 3822"/>
                <a:gd name="T109" fmla="*/ 2147483647 h 4763"/>
                <a:gd name="T110" fmla="*/ 2147483647 w 3822"/>
                <a:gd name="T111" fmla="*/ 2147483647 h 4763"/>
                <a:gd name="T112" fmla="*/ 2147483647 w 3822"/>
                <a:gd name="T113" fmla="*/ 2147483647 h 4763"/>
                <a:gd name="T114" fmla="*/ 2147483647 w 3822"/>
                <a:gd name="T115" fmla="*/ 2147483647 h 4763"/>
                <a:gd name="T116" fmla="*/ 2147483647 w 3822"/>
                <a:gd name="T117" fmla="*/ 2147483647 h 4763"/>
                <a:gd name="T118" fmla="*/ 2147483647 w 3822"/>
                <a:gd name="T119" fmla="*/ 2147483647 h 4763"/>
                <a:gd name="T120" fmla="*/ 2147483647 w 3822"/>
                <a:gd name="T121" fmla="*/ 2147483647 h 4763"/>
                <a:gd name="T122" fmla="*/ 2147483647 w 3822"/>
                <a:gd name="T123" fmla="*/ 2147483647 h 476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22"/>
                <a:gd name="T187" fmla="*/ 0 h 4763"/>
                <a:gd name="T188" fmla="*/ 3822 w 3822"/>
                <a:gd name="T189" fmla="*/ 4763 h 476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22" h="4763">
                  <a:moveTo>
                    <a:pt x="2629" y="1997"/>
                  </a:moveTo>
                  <a:lnTo>
                    <a:pt x="2063" y="1997"/>
                  </a:lnTo>
                  <a:lnTo>
                    <a:pt x="2063" y="1594"/>
                  </a:lnTo>
                  <a:lnTo>
                    <a:pt x="2446" y="1594"/>
                  </a:lnTo>
                  <a:lnTo>
                    <a:pt x="2672" y="1206"/>
                  </a:lnTo>
                  <a:lnTo>
                    <a:pt x="2649" y="1608"/>
                  </a:lnTo>
                  <a:lnTo>
                    <a:pt x="2638" y="1803"/>
                  </a:lnTo>
                  <a:lnTo>
                    <a:pt x="2629" y="1997"/>
                  </a:lnTo>
                  <a:close/>
                  <a:moveTo>
                    <a:pt x="2158" y="1875"/>
                  </a:moveTo>
                  <a:lnTo>
                    <a:pt x="2158" y="1875"/>
                  </a:lnTo>
                  <a:lnTo>
                    <a:pt x="2159" y="1867"/>
                  </a:lnTo>
                  <a:lnTo>
                    <a:pt x="2160" y="1859"/>
                  </a:lnTo>
                  <a:lnTo>
                    <a:pt x="2164" y="1852"/>
                  </a:lnTo>
                  <a:lnTo>
                    <a:pt x="2170" y="1847"/>
                  </a:lnTo>
                  <a:lnTo>
                    <a:pt x="2175" y="1842"/>
                  </a:lnTo>
                  <a:lnTo>
                    <a:pt x="2182" y="1838"/>
                  </a:lnTo>
                  <a:lnTo>
                    <a:pt x="2190" y="1835"/>
                  </a:lnTo>
                  <a:lnTo>
                    <a:pt x="2198" y="1835"/>
                  </a:lnTo>
                  <a:lnTo>
                    <a:pt x="2206" y="1835"/>
                  </a:lnTo>
                  <a:lnTo>
                    <a:pt x="2214" y="1838"/>
                  </a:lnTo>
                  <a:lnTo>
                    <a:pt x="2221" y="1842"/>
                  </a:lnTo>
                  <a:lnTo>
                    <a:pt x="2226" y="1847"/>
                  </a:lnTo>
                  <a:lnTo>
                    <a:pt x="2231" y="1852"/>
                  </a:lnTo>
                  <a:lnTo>
                    <a:pt x="2235" y="1859"/>
                  </a:lnTo>
                  <a:lnTo>
                    <a:pt x="2237" y="1867"/>
                  </a:lnTo>
                  <a:lnTo>
                    <a:pt x="2238" y="1875"/>
                  </a:lnTo>
                  <a:lnTo>
                    <a:pt x="2237" y="1883"/>
                  </a:lnTo>
                  <a:lnTo>
                    <a:pt x="2235" y="1891"/>
                  </a:lnTo>
                  <a:lnTo>
                    <a:pt x="2231" y="1898"/>
                  </a:lnTo>
                  <a:lnTo>
                    <a:pt x="2226" y="1903"/>
                  </a:lnTo>
                  <a:lnTo>
                    <a:pt x="2221" y="1909"/>
                  </a:lnTo>
                  <a:lnTo>
                    <a:pt x="2214" y="1911"/>
                  </a:lnTo>
                  <a:lnTo>
                    <a:pt x="2206" y="1914"/>
                  </a:lnTo>
                  <a:lnTo>
                    <a:pt x="2198" y="1915"/>
                  </a:lnTo>
                  <a:lnTo>
                    <a:pt x="2190" y="1914"/>
                  </a:lnTo>
                  <a:lnTo>
                    <a:pt x="2182" y="1911"/>
                  </a:lnTo>
                  <a:lnTo>
                    <a:pt x="2175" y="1909"/>
                  </a:lnTo>
                  <a:lnTo>
                    <a:pt x="2170" y="1903"/>
                  </a:lnTo>
                  <a:lnTo>
                    <a:pt x="2164" y="1898"/>
                  </a:lnTo>
                  <a:lnTo>
                    <a:pt x="2160" y="1891"/>
                  </a:lnTo>
                  <a:lnTo>
                    <a:pt x="2159" y="1883"/>
                  </a:lnTo>
                  <a:lnTo>
                    <a:pt x="2158" y="1875"/>
                  </a:lnTo>
                  <a:close/>
                  <a:moveTo>
                    <a:pt x="2452" y="3624"/>
                  </a:moveTo>
                  <a:lnTo>
                    <a:pt x="2452" y="2674"/>
                  </a:lnTo>
                  <a:lnTo>
                    <a:pt x="2618" y="2674"/>
                  </a:lnTo>
                  <a:lnTo>
                    <a:pt x="2676" y="3624"/>
                  </a:lnTo>
                  <a:lnTo>
                    <a:pt x="2452" y="3624"/>
                  </a:lnTo>
                  <a:close/>
                  <a:moveTo>
                    <a:pt x="2816" y="4763"/>
                  </a:moveTo>
                  <a:lnTo>
                    <a:pt x="2679" y="2666"/>
                  </a:lnTo>
                  <a:lnTo>
                    <a:pt x="2734" y="1228"/>
                  </a:lnTo>
                  <a:lnTo>
                    <a:pt x="2737" y="1194"/>
                  </a:lnTo>
                  <a:lnTo>
                    <a:pt x="2741" y="1158"/>
                  </a:lnTo>
                  <a:lnTo>
                    <a:pt x="2745" y="1139"/>
                  </a:lnTo>
                  <a:lnTo>
                    <a:pt x="2749" y="1120"/>
                  </a:lnTo>
                  <a:lnTo>
                    <a:pt x="2754" y="1100"/>
                  </a:lnTo>
                  <a:lnTo>
                    <a:pt x="2761" y="1081"/>
                  </a:lnTo>
                  <a:lnTo>
                    <a:pt x="2769" y="1061"/>
                  </a:lnTo>
                  <a:lnTo>
                    <a:pt x="2780" y="1042"/>
                  </a:lnTo>
                  <a:lnTo>
                    <a:pt x="2790" y="1024"/>
                  </a:lnTo>
                  <a:lnTo>
                    <a:pt x="2804" y="1005"/>
                  </a:lnTo>
                  <a:lnTo>
                    <a:pt x="2818" y="987"/>
                  </a:lnTo>
                  <a:lnTo>
                    <a:pt x="2836" y="971"/>
                  </a:lnTo>
                  <a:lnTo>
                    <a:pt x="2855" y="955"/>
                  </a:lnTo>
                  <a:lnTo>
                    <a:pt x="2876" y="940"/>
                  </a:lnTo>
                  <a:lnTo>
                    <a:pt x="3063" y="825"/>
                  </a:lnTo>
                  <a:lnTo>
                    <a:pt x="3076" y="817"/>
                  </a:lnTo>
                  <a:lnTo>
                    <a:pt x="3088" y="810"/>
                  </a:lnTo>
                  <a:lnTo>
                    <a:pt x="3102" y="805"/>
                  </a:lnTo>
                  <a:lnTo>
                    <a:pt x="3114" y="799"/>
                  </a:lnTo>
                  <a:lnTo>
                    <a:pt x="3126" y="797"/>
                  </a:lnTo>
                  <a:lnTo>
                    <a:pt x="3138" y="794"/>
                  </a:lnTo>
                  <a:lnTo>
                    <a:pt x="3149" y="791"/>
                  </a:lnTo>
                  <a:lnTo>
                    <a:pt x="3161" y="790"/>
                  </a:lnTo>
                  <a:lnTo>
                    <a:pt x="3172" y="790"/>
                  </a:lnTo>
                  <a:lnTo>
                    <a:pt x="3183" y="791"/>
                  </a:lnTo>
                  <a:lnTo>
                    <a:pt x="3193" y="792"/>
                  </a:lnTo>
                  <a:lnTo>
                    <a:pt x="3203" y="795"/>
                  </a:lnTo>
                  <a:lnTo>
                    <a:pt x="3212" y="798"/>
                  </a:lnTo>
                  <a:lnTo>
                    <a:pt x="3221" y="802"/>
                  </a:lnTo>
                  <a:lnTo>
                    <a:pt x="3239" y="811"/>
                  </a:lnTo>
                  <a:lnTo>
                    <a:pt x="3254" y="823"/>
                  </a:lnTo>
                  <a:lnTo>
                    <a:pt x="3269" y="837"/>
                  </a:lnTo>
                  <a:lnTo>
                    <a:pt x="3281" y="854"/>
                  </a:lnTo>
                  <a:lnTo>
                    <a:pt x="3290" y="873"/>
                  </a:lnTo>
                  <a:lnTo>
                    <a:pt x="3298" y="893"/>
                  </a:lnTo>
                  <a:lnTo>
                    <a:pt x="3303" y="915"/>
                  </a:lnTo>
                  <a:lnTo>
                    <a:pt x="3307" y="938"/>
                  </a:lnTo>
                  <a:lnTo>
                    <a:pt x="3307" y="962"/>
                  </a:lnTo>
                  <a:lnTo>
                    <a:pt x="3294" y="2497"/>
                  </a:lnTo>
                  <a:lnTo>
                    <a:pt x="2957" y="2497"/>
                  </a:lnTo>
                  <a:lnTo>
                    <a:pt x="2957" y="2696"/>
                  </a:lnTo>
                  <a:lnTo>
                    <a:pt x="3011" y="2696"/>
                  </a:lnTo>
                  <a:lnTo>
                    <a:pt x="3011" y="2551"/>
                  </a:lnTo>
                  <a:lnTo>
                    <a:pt x="3294" y="2551"/>
                  </a:lnTo>
                  <a:lnTo>
                    <a:pt x="3293" y="2674"/>
                  </a:lnTo>
                  <a:lnTo>
                    <a:pt x="3822" y="2674"/>
                  </a:lnTo>
                  <a:lnTo>
                    <a:pt x="3822" y="3624"/>
                  </a:lnTo>
                  <a:lnTo>
                    <a:pt x="3285" y="3624"/>
                  </a:lnTo>
                  <a:lnTo>
                    <a:pt x="3274" y="4763"/>
                  </a:lnTo>
                  <a:lnTo>
                    <a:pt x="2816" y="4763"/>
                  </a:lnTo>
                  <a:close/>
                  <a:moveTo>
                    <a:pt x="2992" y="0"/>
                  </a:moveTo>
                  <a:lnTo>
                    <a:pt x="2992" y="0"/>
                  </a:lnTo>
                  <a:lnTo>
                    <a:pt x="3012" y="1"/>
                  </a:lnTo>
                  <a:lnTo>
                    <a:pt x="3031" y="3"/>
                  </a:lnTo>
                  <a:lnTo>
                    <a:pt x="3050" y="7"/>
                  </a:lnTo>
                  <a:lnTo>
                    <a:pt x="3068" y="11"/>
                  </a:lnTo>
                  <a:lnTo>
                    <a:pt x="3094" y="19"/>
                  </a:lnTo>
                  <a:lnTo>
                    <a:pt x="3118" y="30"/>
                  </a:lnTo>
                  <a:lnTo>
                    <a:pt x="3142" y="42"/>
                  </a:lnTo>
                  <a:lnTo>
                    <a:pt x="3164" y="56"/>
                  </a:lnTo>
                  <a:lnTo>
                    <a:pt x="3185" y="73"/>
                  </a:lnTo>
                  <a:lnTo>
                    <a:pt x="3204" y="91"/>
                  </a:lnTo>
                  <a:lnTo>
                    <a:pt x="3221" y="110"/>
                  </a:lnTo>
                  <a:lnTo>
                    <a:pt x="3239" y="132"/>
                  </a:lnTo>
                  <a:lnTo>
                    <a:pt x="3254" y="154"/>
                  </a:lnTo>
                  <a:lnTo>
                    <a:pt x="3266" y="179"/>
                  </a:lnTo>
                  <a:lnTo>
                    <a:pt x="3278" y="203"/>
                  </a:lnTo>
                  <a:lnTo>
                    <a:pt x="3287" y="230"/>
                  </a:lnTo>
                  <a:lnTo>
                    <a:pt x="3294" y="257"/>
                  </a:lnTo>
                  <a:lnTo>
                    <a:pt x="3299" y="283"/>
                  </a:lnTo>
                  <a:lnTo>
                    <a:pt x="3303" y="312"/>
                  </a:lnTo>
                  <a:lnTo>
                    <a:pt x="3305" y="341"/>
                  </a:lnTo>
                  <a:lnTo>
                    <a:pt x="3305" y="398"/>
                  </a:lnTo>
                  <a:lnTo>
                    <a:pt x="3305" y="428"/>
                  </a:lnTo>
                  <a:lnTo>
                    <a:pt x="3303" y="445"/>
                  </a:lnTo>
                  <a:lnTo>
                    <a:pt x="3299" y="459"/>
                  </a:lnTo>
                  <a:lnTo>
                    <a:pt x="3294" y="473"/>
                  </a:lnTo>
                  <a:lnTo>
                    <a:pt x="3285" y="486"/>
                  </a:lnTo>
                  <a:lnTo>
                    <a:pt x="3275" y="498"/>
                  </a:lnTo>
                  <a:lnTo>
                    <a:pt x="3263" y="509"/>
                  </a:lnTo>
                  <a:lnTo>
                    <a:pt x="3250" y="518"/>
                  </a:lnTo>
                  <a:lnTo>
                    <a:pt x="3235" y="528"/>
                  </a:lnTo>
                  <a:lnTo>
                    <a:pt x="3227" y="551"/>
                  </a:lnTo>
                  <a:lnTo>
                    <a:pt x="3217" y="572"/>
                  </a:lnTo>
                  <a:lnTo>
                    <a:pt x="3207" y="594"/>
                  </a:lnTo>
                  <a:lnTo>
                    <a:pt x="3195" y="614"/>
                  </a:lnTo>
                  <a:lnTo>
                    <a:pt x="3181" y="633"/>
                  </a:lnTo>
                  <a:lnTo>
                    <a:pt x="3166" y="650"/>
                  </a:lnTo>
                  <a:lnTo>
                    <a:pt x="3150" y="666"/>
                  </a:lnTo>
                  <a:lnTo>
                    <a:pt x="3133" y="681"/>
                  </a:lnTo>
                  <a:lnTo>
                    <a:pt x="3114" y="696"/>
                  </a:lnTo>
                  <a:lnTo>
                    <a:pt x="3095" y="708"/>
                  </a:lnTo>
                  <a:lnTo>
                    <a:pt x="3075" y="717"/>
                  </a:lnTo>
                  <a:lnTo>
                    <a:pt x="3054" y="727"/>
                  </a:lnTo>
                  <a:lnTo>
                    <a:pt x="3032" y="733"/>
                  </a:lnTo>
                  <a:lnTo>
                    <a:pt x="3011" y="739"/>
                  </a:lnTo>
                  <a:lnTo>
                    <a:pt x="2986" y="741"/>
                  </a:lnTo>
                  <a:lnTo>
                    <a:pt x="2964" y="743"/>
                  </a:lnTo>
                  <a:lnTo>
                    <a:pt x="2949" y="743"/>
                  </a:lnTo>
                  <a:lnTo>
                    <a:pt x="2934" y="741"/>
                  </a:lnTo>
                  <a:lnTo>
                    <a:pt x="2919" y="739"/>
                  </a:lnTo>
                  <a:lnTo>
                    <a:pt x="2904" y="736"/>
                  </a:lnTo>
                  <a:lnTo>
                    <a:pt x="2878" y="728"/>
                  </a:lnTo>
                  <a:lnTo>
                    <a:pt x="2851" y="717"/>
                  </a:lnTo>
                  <a:lnTo>
                    <a:pt x="2825" y="704"/>
                  </a:lnTo>
                  <a:lnTo>
                    <a:pt x="2802" y="688"/>
                  </a:lnTo>
                  <a:lnTo>
                    <a:pt x="2780" y="670"/>
                  </a:lnTo>
                  <a:lnTo>
                    <a:pt x="2759" y="650"/>
                  </a:lnTo>
                  <a:lnTo>
                    <a:pt x="2742" y="627"/>
                  </a:lnTo>
                  <a:lnTo>
                    <a:pt x="2726" y="603"/>
                  </a:lnTo>
                  <a:lnTo>
                    <a:pt x="2711" y="578"/>
                  </a:lnTo>
                  <a:lnTo>
                    <a:pt x="2699" y="549"/>
                  </a:lnTo>
                  <a:lnTo>
                    <a:pt x="2690" y="521"/>
                  </a:lnTo>
                  <a:lnTo>
                    <a:pt x="2683" y="492"/>
                  </a:lnTo>
                  <a:lnTo>
                    <a:pt x="2679" y="461"/>
                  </a:lnTo>
                  <a:lnTo>
                    <a:pt x="2677" y="428"/>
                  </a:lnTo>
                  <a:lnTo>
                    <a:pt x="2677" y="341"/>
                  </a:lnTo>
                  <a:lnTo>
                    <a:pt x="2677" y="324"/>
                  </a:lnTo>
                  <a:lnTo>
                    <a:pt x="2679" y="305"/>
                  </a:lnTo>
                  <a:lnTo>
                    <a:pt x="2681" y="287"/>
                  </a:lnTo>
                  <a:lnTo>
                    <a:pt x="2684" y="270"/>
                  </a:lnTo>
                  <a:lnTo>
                    <a:pt x="2688" y="254"/>
                  </a:lnTo>
                  <a:lnTo>
                    <a:pt x="2694" y="238"/>
                  </a:lnTo>
                  <a:lnTo>
                    <a:pt x="2699" y="222"/>
                  </a:lnTo>
                  <a:lnTo>
                    <a:pt x="2706" y="206"/>
                  </a:lnTo>
                  <a:lnTo>
                    <a:pt x="2712" y="191"/>
                  </a:lnTo>
                  <a:lnTo>
                    <a:pt x="2720" y="176"/>
                  </a:lnTo>
                  <a:lnTo>
                    <a:pt x="2728" y="161"/>
                  </a:lnTo>
                  <a:lnTo>
                    <a:pt x="2738" y="148"/>
                  </a:lnTo>
                  <a:lnTo>
                    <a:pt x="2749" y="134"/>
                  </a:lnTo>
                  <a:lnTo>
                    <a:pt x="2758" y="122"/>
                  </a:lnTo>
                  <a:lnTo>
                    <a:pt x="2770" y="110"/>
                  </a:lnTo>
                  <a:lnTo>
                    <a:pt x="2781" y="98"/>
                  </a:lnTo>
                  <a:lnTo>
                    <a:pt x="2751" y="82"/>
                  </a:lnTo>
                  <a:lnTo>
                    <a:pt x="2745" y="77"/>
                  </a:lnTo>
                  <a:lnTo>
                    <a:pt x="2738" y="71"/>
                  </a:lnTo>
                  <a:lnTo>
                    <a:pt x="2732" y="66"/>
                  </a:lnTo>
                  <a:lnTo>
                    <a:pt x="2728" y="59"/>
                  </a:lnTo>
                  <a:lnTo>
                    <a:pt x="2726" y="52"/>
                  </a:lnTo>
                  <a:lnTo>
                    <a:pt x="2724" y="47"/>
                  </a:lnTo>
                  <a:lnTo>
                    <a:pt x="2724" y="40"/>
                  </a:lnTo>
                  <a:lnTo>
                    <a:pt x="2724" y="34"/>
                  </a:lnTo>
                  <a:lnTo>
                    <a:pt x="2726" y="28"/>
                  </a:lnTo>
                  <a:lnTo>
                    <a:pt x="2727" y="21"/>
                  </a:lnTo>
                  <a:lnTo>
                    <a:pt x="2731" y="17"/>
                  </a:lnTo>
                  <a:lnTo>
                    <a:pt x="2734" y="12"/>
                  </a:lnTo>
                  <a:lnTo>
                    <a:pt x="2739" y="9"/>
                  </a:lnTo>
                  <a:lnTo>
                    <a:pt x="2743" y="5"/>
                  </a:lnTo>
                  <a:lnTo>
                    <a:pt x="2749" y="4"/>
                  </a:lnTo>
                  <a:lnTo>
                    <a:pt x="2755" y="4"/>
                  </a:lnTo>
                  <a:lnTo>
                    <a:pt x="2974" y="1"/>
                  </a:lnTo>
                  <a:lnTo>
                    <a:pt x="2992" y="0"/>
                  </a:lnTo>
                  <a:close/>
                  <a:moveTo>
                    <a:pt x="3196" y="387"/>
                  </a:moveTo>
                  <a:lnTo>
                    <a:pt x="3196" y="428"/>
                  </a:lnTo>
                  <a:lnTo>
                    <a:pt x="3195" y="455"/>
                  </a:lnTo>
                  <a:lnTo>
                    <a:pt x="3191" y="482"/>
                  </a:lnTo>
                  <a:lnTo>
                    <a:pt x="3185" y="506"/>
                  </a:lnTo>
                  <a:lnTo>
                    <a:pt x="3177" y="531"/>
                  </a:lnTo>
                  <a:lnTo>
                    <a:pt x="3166" y="553"/>
                  </a:lnTo>
                  <a:lnTo>
                    <a:pt x="3156" y="575"/>
                  </a:lnTo>
                  <a:lnTo>
                    <a:pt x="3142" y="595"/>
                  </a:lnTo>
                  <a:lnTo>
                    <a:pt x="3126" y="614"/>
                  </a:lnTo>
                  <a:lnTo>
                    <a:pt x="3110" y="630"/>
                  </a:lnTo>
                  <a:lnTo>
                    <a:pt x="3093" y="645"/>
                  </a:lnTo>
                  <a:lnTo>
                    <a:pt x="3072" y="658"/>
                  </a:lnTo>
                  <a:lnTo>
                    <a:pt x="3052" y="669"/>
                  </a:lnTo>
                  <a:lnTo>
                    <a:pt x="3031" y="677"/>
                  </a:lnTo>
                  <a:lnTo>
                    <a:pt x="3009" y="684"/>
                  </a:lnTo>
                  <a:lnTo>
                    <a:pt x="2986" y="688"/>
                  </a:lnTo>
                  <a:lnTo>
                    <a:pt x="2964" y="689"/>
                  </a:lnTo>
                  <a:lnTo>
                    <a:pt x="2939" y="688"/>
                  </a:lnTo>
                  <a:lnTo>
                    <a:pt x="2917" y="684"/>
                  </a:lnTo>
                  <a:lnTo>
                    <a:pt x="2895" y="677"/>
                  </a:lnTo>
                  <a:lnTo>
                    <a:pt x="2874" y="669"/>
                  </a:lnTo>
                  <a:lnTo>
                    <a:pt x="2853" y="658"/>
                  </a:lnTo>
                  <a:lnTo>
                    <a:pt x="2835" y="645"/>
                  </a:lnTo>
                  <a:lnTo>
                    <a:pt x="2816" y="630"/>
                  </a:lnTo>
                  <a:lnTo>
                    <a:pt x="2800" y="614"/>
                  </a:lnTo>
                  <a:lnTo>
                    <a:pt x="2785" y="595"/>
                  </a:lnTo>
                  <a:lnTo>
                    <a:pt x="2771" y="575"/>
                  </a:lnTo>
                  <a:lnTo>
                    <a:pt x="2759" y="553"/>
                  </a:lnTo>
                  <a:lnTo>
                    <a:pt x="2750" y="531"/>
                  </a:lnTo>
                  <a:lnTo>
                    <a:pt x="2742" y="506"/>
                  </a:lnTo>
                  <a:lnTo>
                    <a:pt x="2735" y="482"/>
                  </a:lnTo>
                  <a:lnTo>
                    <a:pt x="2732" y="455"/>
                  </a:lnTo>
                  <a:lnTo>
                    <a:pt x="2731" y="428"/>
                  </a:lnTo>
                  <a:lnTo>
                    <a:pt x="2731" y="341"/>
                  </a:lnTo>
                  <a:lnTo>
                    <a:pt x="2731" y="325"/>
                  </a:lnTo>
                  <a:lnTo>
                    <a:pt x="2732" y="308"/>
                  </a:lnTo>
                  <a:lnTo>
                    <a:pt x="2735" y="291"/>
                  </a:lnTo>
                  <a:lnTo>
                    <a:pt x="2738" y="277"/>
                  </a:lnTo>
                  <a:lnTo>
                    <a:pt x="2742" y="261"/>
                  </a:lnTo>
                  <a:lnTo>
                    <a:pt x="2747" y="246"/>
                  </a:lnTo>
                  <a:lnTo>
                    <a:pt x="2753" y="231"/>
                  </a:lnTo>
                  <a:lnTo>
                    <a:pt x="2758" y="218"/>
                  </a:lnTo>
                  <a:lnTo>
                    <a:pt x="2766" y="204"/>
                  </a:lnTo>
                  <a:lnTo>
                    <a:pt x="2773" y="191"/>
                  </a:lnTo>
                  <a:lnTo>
                    <a:pt x="2782" y="179"/>
                  </a:lnTo>
                  <a:lnTo>
                    <a:pt x="2790" y="167"/>
                  </a:lnTo>
                  <a:lnTo>
                    <a:pt x="2800" y="156"/>
                  </a:lnTo>
                  <a:lnTo>
                    <a:pt x="2810" y="145"/>
                  </a:lnTo>
                  <a:lnTo>
                    <a:pt x="2821" y="136"/>
                  </a:lnTo>
                  <a:lnTo>
                    <a:pt x="2832" y="126"/>
                  </a:lnTo>
                  <a:lnTo>
                    <a:pt x="2998" y="219"/>
                  </a:lnTo>
                  <a:lnTo>
                    <a:pt x="2927" y="301"/>
                  </a:lnTo>
                  <a:lnTo>
                    <a:pt x="3084" y="306"/>
                  </a:lnTo>
                  <a:lnTo>
                    <a:pt x="3084" y="387"/>
                  </a:lnTo>
                  <a:lnTo>
                    <a:pt x="3196" y="387"/>
                  </a:lnTo>
                  <a:close/>
                  <a:moveTo>
                    <a:pt x="629" y="21"/>
                  </a:moveTo>
                  <a:lnTo>
                    <a:pt x="629" y="21"/>
                  </a:lnTo>
                  <a:lnTo>
                    <a:pt x="645" y="21"/>
                  </a:lnTo>
                  <a:lnTo>
                    <a:pt x="661" y="23"/>
                  </a:lnTo>
                  <a:lnTo>
                    <a:pt x="676" y="26"/>
                  </a:lnTo>
                  <a:lnTo>
                    <a:pt x="691" y="30"/>
                  </a:lnTo>
                  <a:lnTo>
                    <a:pt x="716" y="34"/>
                  </a:lnTo>
                  <a:lnTo>
                    <a:pt x="742" y="42"/>
                  </a:lnTo>
                  <a:lnTo>
                    <a:pt x="767" y="51"/>
                  </a:lnTo>
                  <a:lnTo>
                    <a:pt x="790" y="63"/>
                  </a:lnTo>
                  <a:lnTo>
                    <a:pt x="813" y="78"/>
                  </a:lnTo>
                  <a:lnTo>
                    <a:pt x="833" y="94"/>
                  </a:lnTo>
                  <a:lnTo>
                    <a:pt x="853" y="113"/>
                  </a:lnTo>
                  <a:lnTo>
                    <a:pt x="871" y="133"/>
                  </a:lnTo>
                  <a:lnTo>
                    <a:pt x="887" y="154"/>
                  </a:lnTo>
                  <a:lnTo>
                    <a:pt x="901" y="177"/>
                  </a:lnTo>
                  <a:lnTo>
                    <a:pt x="914" y="201"/>
                  </a:lnTo>
                  <a:lnTo>
                    <a:pt x="924" y="228"/>
                  </a:lnTo>
                  <a:lnTo>
                    <a:pt x="932" y="255"/>
                  </a:lnTo>
                  <a:lnTo>
                    <a:pt x="938" y="283"/>
                  </a:lnTo>
                  <a:lnTo>
                    <a:pt x="942" y="312"/>
                  </a:lnTo>
                  <a:lnTo>
                    <a:pt x="943" y="341"/>
                  </a:lnTo>
                  <a:lnTo>
                    <a:pt x="943" y="428"/>
                  </a:lnTo>
                  <a:lnTo>
                    <a:pt x="942" y="461"/>
                  </a:lnTo>
                  <a:lnTo>
                    <a:pt x="938" y="492"/>
                  </a:lnTo>
                  <a:lnTo>
                    <a:pt x="931" y="521"/>
                  </a:lnTo>
                  <a:lnTo>
                    <a:pt x="922" y="549"/>
                  </a:lnTo>
                  <a:lnTo>
                    <a:pt x="909" y="578"/>
                  </a:lnTo>
                  <a:lnTo>
                    <a:pt x="895" y="603"/>
                  </a:lnTo>
                  <a:lnTo>
                    <a:pt x="879" y="627"/>
                  </a:lnTo>
                  <a:lnTo>
                    <a:pt x="860" y="650"/>
                  </a:lnTo>
                  <a:lnTo>
                    <a:pt x="840" y="670"/>
                  </a:lnTo>
                  <a:lnTo>
                    <a:pt x="818" y="688"/>
                  </a:lnTo>
                  <a:lnTo>
                    <a:pt x="794" y="704"/>
                  </a:lnTo>
                  <a:lnTo>
                    <a:pt x="770" y="717"/>
                  </a:lnTo>
                  <a:lnTo>
                    <a:pt x="743" y="728"/>
                  </a:lnTo>
                  <a:lnTo>
                    <a:pt x="716" y="736"/>
                  </a:lnTo>
                  <a:lnTo>
                    <a:pt x="701" y="739"/>
                  </a:lnTo>
                  <a:lnTo>
                    <a:pt x="686" y="741"/>
                  </a:lnTo>
                  <a:lnTo>
                    <a:pt x="672" y="743"/>
                  </a:lnTo>
                  <a:lnTo>
                    <a:pt x="657" y="743"/>
                  </a:lnTo>
                  <a:lnTo>
                    <a:pt x="639" y="741"/>
                  </a:lnTo>
                  <a:lnTo>
                    <a:pt x="622" y="740"/>
                  </a:lnTo>
                  <a:lnTo>
                    <a:pt x="605" y="737"/>
                  </a:lnTo>
                  <a:lnTo>
                    <a:pt x="587" y="733"/>
                  </a:lnTo>
                  <a:lnTo>
                    <a:pt x="571" y="728"/>
                  </a:lnTo>
                  <a:lnTo>
                    <a:pt x="555" y="723"/>
                  </a:lnTo>
                  <a:lnTo>
                    <a:pt x="540" y="715"/>
                  </a:lnTo>
                  <a:lnTo>
                    <a:pt x="525" y="708"/>
                  </a:lnTo>
                  <a:lnTo>
                    <a:pt x="510" y="698"/>
                  </a:lnTo>
                  <a:lnTo>
                    <a:pt x="496" y="689"/>
                  </a:lnTo>
                  <a:lnTo>
                    <a:pt x="484" y="678"/>
                  </a:lnTo>
                  <a:lnTo>
                    <a:pt x="470" y="666"/>
                  </a:lnTo>
                  <a:lnTo>
                    <a:pt x="458" y="654"/>
                  </a:lnTo>
                  <a:lnTo>
                    <a:pt x="447" y="642"/>
                  </a:lnTo>
                  <a:lnTo>
                    <a:pt x="435" y="627"/>
                  </a:lnTo>
                  <a:lnTo>
                    <a:pt x="426" y="614"/>
                  </a:lnTo>
                  <a:lnTo>
                    <a:pt x="403" y="604"/>
                  </a:lnTo>
                  <a:lnTo>
                    <a:pt x="382" y="594"/>
                  </a:lnTo>
                  <a:lnTo>
                    <a:pt x="363" y="582"/>
                  </a:lnTo>
                  <a:lnTo>
                    <a:pt x="347" y="568"/>
                  </a:lnTo>
                  <a:lnTo>
                    <a:pt x="340" y="560"/>
                  </a:lnTo>
                  <a:lnTo>
                    <a:pt x="333" y="553"/>
                  </a:lnTo>
                  <a:lnTo>
                    <a:pt x="328" y="544"/>
                  </a:lnTo>
                  <a:lnTo>
                    <a:pt x="324" y="536"/>
                  </a:lnTo>
                  <a:lnTo>
                    <a:pt x="320" y="527"/>
                  </a:lnTo>
                  <a:lnTo>
                    <a:pt x="317" y="517"/>
                  </a:lnTo>
                  <a:lnTo>
                    <a:pt x="316" y="508"/>
                  </a:lnTo>
                  <a:lnTo>
                    <a:pt x="316" y="497"/>
                  </a:lnTo>
                  <a:lnTo>
                    <a:pt x="316" y="363"/>
                  </a:lnTo>
                  <a:lnTo>
                    <a:pt x="317" y="328"/>
                  </a:lnTo>
                  <a:lnTo>
                    <a:pt x="321" y="296"/>
                  </a:lnTo>
                  <a:lnTo>
                    <a:pt x="329" y="263"/>
                  </a:lnTo>
                  <a:lnTo>
                    <a:pt x="339" y="231"/>
                  </a:lnTo>
                  <a:lnTo>
                    <a:pt x="352" y="201"/>
                  </a:lnTo>
                  <a:lnTo>
                    <a:pt x="367" y="173"/>
                  </a:lnTo>
                  <a:lnTo>
                    <a:pt x="386" y="148"/>
                  </a:lnTo>
                  <a:lnTo>
                    <a:pt x="404" y="124"/>
                  </a:lnTo>
                  <a:lnTo>
                    <a:pt x="427" y="101"/>
                  </a:lnTo>
                  <a:lnTo>
                    <a:pt x="451" y="81"/>
                  </a:lnTo>
                  <a:lnTo>
                    <a:pt x="477" y="63"/>
                  </a:lnTo>
                  <a:lnTo>
                    <a:pt x="490" y="56"/>
                  </a:lnTo>
                  <a:lnTo>
                    <a:pt x="504" y="48"/>
                  </a:lnTo>
                  <a:lnTo>
                    <a:pt x="519" y="43"/>
                  </a:lnTo>
                  <a:lnTo>
                    <a:pt x="533" y="38"/>
                  </a:lnTo>
                  <a:lnTo>
                    <a:pt x="548" y="32"/>
                  </a:lnTo>
                  <a:lnTo>
                    <a:pt x="564" y="28"/>
                  </a:lnTo>
                  <a:lnTo>
                    <a:pt x="579" y="26"/>
                  </a:lnTo>
                  <a:lnTo>
                    <a:pt x="595" y="23"/>
                  </a:lnTo>
                  <a:lnTo>
                    <a:pt x="611" y="21"/>
                  </a:lnTo>
                  <a:lnTo>
                    <a:pt x="629" y="21"/>
                  </a:lnTo>
                  <a:close/>
                  <a:moveTo>
                    <a:pt x="446" y="539"/>
                  </a:moveTo>
                  <a:lnTo>
                    <a:pt x="446" y="539"/>
                  </a:lnTo>
                  <a:lnTo>
                    <a:pt x="459" y="565"/>
                  </a:lnTo>
                  <a:lnTo>
                    <a:pt x="474" y="590"/>
                  </a:lnTo>
                  <a:lnTo>
                    <a:pt x="492" y="611"/>
                  </a:lnTo>
                  <a:lnTo>
                    <a:pt x="512" y="631"/>
                  </a:lnTo>
                  <a:lnTo>
                    <a:pt x="527" y="645"/>
                  </a:lnTo>
                  <a:lnTo>
                    <a:pt x="544" y="655"/>
                  </a:lnTo>
                  <a:lnTo>
                    <a:pt x="562" y="665"/>
                  </a:lnTo>
                  <a:lnTo>
                    <a:pt x="579" y="674"/>
                  </a:lnTo>
                  <a:lnTo>
                    <a:pt x="598" y="680"/>
                  </a:lnTo>
                  <a:lnTo>
                    <a:pt x="617" y="685"/>
                  </a:lnTo>
                  <a:lnTo>
                    <a:pt x="637" y="688"/>
                  </a:lnTo>
                  <a:lnTo>
                    <a:pt x="657" y="689"/>
                  </a:lnTo>
                  <a:lnTo>
                    <a:pt x="680" y="688"/>
                  </a:lnTo>
                  <a:lnTo>
                    <a:pt x="703" y="684"/>
                  </a:lnTo>
                  <a:lnTo>
                    <a:pt x="725" y="677"/>
                  </a:lnTo>
                  <a:lnTo>
                    <a:pt x="747" y="669"/>
                  </a:lnTo>
                  <a:lnTo>
                    <a:pt x="767" y="658"/>
                  </a:lnTo>
                  <a:lnTo>
                    <a:pt x="786" y="645"/>
                  </a:lnTo>
                  <a:lnTo>
                    <a:pt x="803" y="630"/>
                  </a:lnTo>
                  <a:lnTo>
                    <a:pt x="821" y="614"/>
                  </a:lnTo>
                  <a:lnTo>
                    <a:pt x="836" y="595"/>
                  </a:lnTo>
                  <a:lnTo>
                    <a:pt x="849" y="575"/>
                  </a:lnTo>
                  <a:lnTo>
                    <a:pt x="861" y="553"/>
                  </a:lnTo>
                  <a:lnTo>
                    <a:pt x="871" y="531"/>
                  </a:lnTo>
                  <a:lnTo>
                    <a:pt x="879" y="506"/>
                  </a:lnTo>
                  <a:lnTo>
                    <a:pt x="884" y="482"/>
                  </a:lnTo>
                  <a:lnTo>
                    <a:pt x="888" y="455"/>
                  </a:lnTo>
                  <a:lnTo>
                    <a:pt x="889" y="428"/>
                  </a:lnTo>
                  <a:lnTo>
                    <a:pt x="889" y="341"/>
                  </a:lnTo>
                  <a:lnTo>
                    <a:pt x="888" y="318"/>
                  </a:lnTo>
                  <a:lnTo>
                    <a:pt x="885" y="297"/>
                  </a:lnTo>
                  <a:lnTo>
                    <a:pt x="881" y="275"/>
                  </a:lnTo>
                  <a:lnTo>
                    <a:pt x="876" y="255"/>
                  </a:lnTo>
                  <a:lnTo>
                    <a:pt x="869" y="235"/>
                  </a:lnTo>
                  <a:lnTo>
                    <a:pt x="861" y="216"/>
                  </a:lnTo>
                  <a:lnTo>
                    <a:pt x="852" y="199"/>
                  </a:lnTo>
                  <a:lnTo>
                    <a:pt x="841" y="181"/>
                  </a:lnTo>
                  <a:lnTo>
                    <a:pt x="742" y="181"/>
                  </a:lnTo>
                  <a:lnTo>
                    <a:pt x="720" y="183"/>
                  </a:lnTo>
                  <a:lnTo>
                    <a:pt x="701" y="187"/>
                  </a:lnTo>
                  <a:lnTo>
                    <a:pt x="684" y="192"/>
                  </a:lnTo>
                  <a:lnTo>
                    <a:pt x="670" y="200"/>
                  </a:lnTo>
                  <a:lnTo>
                    <a:pt x="658" y="210"/>
                  </a:lnTo>
                  <a:lnTo>
                    <a:pt x="649" y="222"/>
                  </a:lnTo>
                  <a:lnTo>
                    <a:pt x="641" y="235"/>
                  </a:lnTo>
                  <a:lnTo>
                    <a:pt x="634" y="248"/>
                  </a:lnTo>
                  <a:lnTo>
                    <a:pt x="630" y="265"/>
                  </a:lnTo>
                  <a:lnTo>
                    <a:pt x="626" y="282"/>
                  </a:lnTo>
                  <a:lnTo>
                    <a:pt x="623" y="300"/>
                  </a:lnTo>
                  <a:lnTo>
                    <a:pt x="622" y="318"/>
                  </a:lnTo>
                  <a:lnTo>
                    <a:pt x="621" y="357"/>
                  </a:lnTo>
                  <a:lnTo>
                    <a:pt x="621" y="396"/>
                  </a:lnTo>
                  <a:lnTo>
                    <a:pt x="531" y="317"/>
                  </a:lnTo>
                  <a:lnTo>
                    <a:pt x="531" y="497"/>
                  </a:lnTo>
                  <a:lnTo>
                    <a:pt x="446" y="539"/>
                  </a:lnTo>
                  <a:close/>
                  <a:moveTo>
                    <a:pt x="1356" y="1970"/>
                  </a:moveTo>
                  <a:lnTo>
                    <a:pt x="1356" y="1640"/>
                  </a:lnTo>
                  <a:lnTo>
                    <a:pt x="911" y="1640"/>
                  </a:lnTo>
                  <a:lnTo>
                    <a:pt x="899" y="1629"/>
                  </a:lnTo>
                  <a:lnTo>
                    <a:pt x="871" y="1602"/>
                  </a:lnTo>
                  <a:lnTo>
                    <a:pt x="860" y="1381"/>
                  </a:lnTo>
                  <a:lnTo>
                    <a:pt x="856" y="1315"/>
                  </a:lnTo>
                  <a:lnTo>
                    <a:pt x="849" y="1257"/>
                  </a:lnTo>
                  <a:lnTo>
                    <a:pt x="846" y="1232"/>
                  </a:lnTo>
                  <a:lnTo>
                    <a:pt x="842" y="1209"/>
                  </a:lnTo>
                  <a:lnTo>
                    <a:pt x="837" y="1187"/>
                  </a:lnTo>
                  <a:lnTo>
                    <a:pt x="832" y="1166"/>
                  </a:lnTo>
                  <a:lnTo>
                    <a:pt x="825" y="1147"/>
                  </a:lnTo>
                  <a:lnTo>
                    <a:pt x="817" y="1130"/>
                  </a:lnTo>
                  <a:lnTo>
                    <a:pt x="809" y="1114"/>
                  </a:lnTo>
                  <a:lnTo>
                    <a:pt x="798" y="1099"/>
                  </a:lnTo>
                  <a:lnTo>
                    <a:pt x="787" y="1084"/>
                  </a:lnTo>
                  <a:lnTo>
                    <a:pt x="775" y="1071"/>
                  </a:lnTo>
                  <a:lnTo>
                    <a:pt x="760" y="1058"/>
                  </a:lnTo>
                  <a:lnTo>
                    <a:pt x="746" y="1046"/>
                  </a:lnTo>
                  <a:lnTo>
                    <a:pt x="563" y="912"/>
                  </a:lnTo>
                  <a:lnTo>
                    <a:pt x="547" y="901"/>
                  </a:lnTo>
                  <a:lnTo>
                    <a:pt x="531" y="893"/>
                  </a:lnTo>
                  <a:lnTo>
                    <a:pt x="516" y="888"/>
                  </a:lnTo>
                  <a:lnTo>
                    <a:pt x="501" y="885"/>
                  </a:lnTo>
                  <a:lnTo>
                    <a:pt x="488" y="884"/>
                  </a:lnTo>
                  <a:lnTo>
                    <a:pt x="474" y="887"/>
                  </a:lnTo>
                  <a:lnTo>
                    <a:pt x="461" y="889"/>
                  </a:lnTo>
                  <a:lnTo>
                    <a:pt x="450" y="896"/>
                  </a:lnTo>
                  <a:lnTo>
                    <a:pt x="439" y="903"/>
                  </a:lnTo>
                  <a:lnTo>
                    <a:pt x="430" y="913"/>
                  </a:lnTo>
                  <a:lnTo>
                    <a:pt x="422" y="924"/>
                  </a:lnTo>
                  <a:lnTo>
                    <a:pt x="414" y="938"/>
                  </a:lnTo>
                  <a:lnTo>
                    <a:pt x="408" y="952"/>
                  </a:lnTo>
                  <a:lnTo>
                    <a:pt x="404" y="968"/>
                  </a:lnTo>
                  <a:lnTo>
                    <a:pt x="403" y="986"/>
                  </a:lnTo>
                  <a:lnTo>
                    <a:pt x="402" y="1005"/>
                  </a:lnTo>
                  <a:lnTo>
                    <a:pt x="416" y="2621"/>
                  </a:lnTo>
                  <a:lnTo>
                    <a:pt x="922" y="2621"/>
                  </a:lnTo>
                  <a:lnTo>
                    <a:pt x="892" y="2024"/>
                  </a:lnTo>
                  <a:lnTo>
                    <a:pt x="727" y="2024"/>
                  </a:lnTo>
                  <a:lnTo>
                    <a:pt x="707" y="2023"/>
                  </a:lnTo>
                  <a:lnTo>
                    <a:pt x="689" y="2022"/>
                  </a:lnTo>
                  <a:lnTo>
                    <a:pt x="672" y="2019"/>
                  </a:lnTo>
                  <a:lnTo>
                    <a:pt x="654" y="2015"/>
                  </a:lnTo>
                  <a:lnTo>
                    <a:pt x="638" y="2009"/>
                  </a:lnTo>
                  <a:lnTo>
                    <a:pt x="623" y="2001"/>
                  </a:lnTo>
                  <a:lnTo>
                    <a:pt x="610" y="1993"/>
                  </a:lnTo>
                  <a:lnTo>
                    <a:pt x="596" y="1984"/>
                  </a:lnTo>
                  <a:lnTo>
                    <a:pt x="584" y="1973"/>
                  </a:lnTo>
                  <a:lnTo>
                    <a:pt x="574" y="1961"/>
                  </a:lnTo>
                  <a:lnTo>
                    <a:pt x="564" y="1948"/>
                  </a:lnTo>
                  <a:lnTo>
                    <a:pt x="555" y="1934"/>
                  </a:lnTo>
                  <a:lnTo>
                    <a:pt x="548" y="1917"/>
                  </a:lnTo>
                  <a:lnTo>
                    <a:pt x="543" y="1899"/>
                  </a:lnTo>
                  <a:lnTo>
                    <a:pt x="537" y="1880"/>
                  </a:lnTo>
                  <a:lnTo>
                    <a:pt x="535" y="1860"/>
                  </a:lnTo>
                  <a:lnTo>
                    <a:pt x="478" y="1338"/>
                  </a:lnTo>
                  <a:lnTo>
                    <a:pt x="532" y="1331"/>
                  </a:lnTo>
                  <a:lnTo>
                    <a:pt x="588" y="1855"/>
                  </a:lnTo>
                  <a:lnTo>
                    <a:pt x="591" y="1870"/>
                  </a:lnTo>
                  <a:lnTo>
                    <a:pt x="594" y="1883"/>
                  </a:lnTo>
                  <a:lnTo>
                    <a:pt x="598" y="1895"/>
                  </a:lnTo>
                  <a:lnTo>
                    <a:pt x="602" y="1907"/>
                  </a:lnTo>
                  <a:lnTo>
                    <a:pt x="609" y="1917"/>
                  </a:lnTo>
                  <a:lnTo>
                    <a:pt x="614" y="1926"/>
                  </a:lnTo>
                  <a:lnTo>
                    <a:pt x="622" y="1936"/>
                  </a:lnTo>
                  <a:lnTo>
                    <a:pt x="630" y="1942"/>
                  </a:lnTo>
                  <a:lnTo>
                    <a:pt x="639" y="1949"/>
                  </a:lnTo>
                  <a:lnTo>
                    <a:pt x="649" y="1954"/>
                  </a:lnTo>
                  <a:lnTo>
                    <a:pt x="660" y="1960"/>
                  </a:lnTo>
                  <a:lnTo>
                    <a:pt x="672" y="1964"/>
                  </a:lnTo>
                  <a:lnTo>
                    <a:pt x="684" y="1966"/>
                  </a:lnTo>
                  <a:lnTo>
                    <a:pt x="697" y="1969"/>
                  </a:lnTo>
                  <a:lnTo>
                    <a:pt x="712" y="1970"/>
                  </a:lnTo>
                  <a:lnTo>
                    <a:pt x="727" y="1970"/>
                  </a:lnTo>
                  <a:lnTo>
                    <a:pt x="1356" y="1970"/>
                  </a:lnTo>
                  <a:close/>
                  <a:moveTo>
                    <a:pt x="977" y="1586"/>
                  </a:moveTo>
                  <a:lnTo>
                    <a:pt x="1409" y="1586"/>
                  </a:lnTo>
                  <a:lnTo>
                    <a:pt x="1409" y="2024"/>
                  </a:lnTo>
                  <a:lnTo>
                    <a:pt x="998" y="2024"/>
                  </a:lnTo>
                  <a:lnTo>
                    <a:pt x="1030" y="2678"/>
                  </a:lnTo>
                  <a:lnTo>
                    <a:pt x="893" y="4763"/>
                  </a:lnTo>
                  <a:lnTo>
                    <a:pt x="786" y="4763"/>
                  </a:lnTo>
                  <a:lnTo>
                    <a:pt x="923" y="2674"/>
                  </a:lnTo>
                  <a:lnTo>
                    <a:pt x="416" y="2674"/>
                  </a:lnTo>
                  <a:lnTo>
                    <a:pt x="435" y="4763"/>
                  </a:lnTo>
                  <a:lnTo>
                    <a:pt x="328" y="4763"/>
                  </a:lnTo>
                  <a:lnTo>
                    <a:pt x="318" y="3678"/>
                  </a:lnTo>
                  <a:lnTo>
                    <a:pt x="0" y="3678"/>
                  </a:lnTo>
                  <a:lnTo>
                    <a:pt x="0" y="2621"/>
                  </a:lnTo>
                  <a:lnTo>
                    <a:pt x="309" y="2621"/>
                  </a:lnTo>
                  <a:lnTo>
                    <a:pt x="294" y="1006"/>
                  </a:lnTo>
                  <a:lnTo>
                    <a:pt x="294" y="991"/>
                  </a:lnTo>
                  <a:lnTo>
                    <a:pt x="296" y="977"/>
                  </a:lnTo>
                  <a:lnTo>
                    <a:pt x="298" y="962"/>
                  </a:lnTo>
                  <a:lnTo>
                    <a:pt x="301" y="947"/>
                  </a:lnTo>
                  <a:lnTo>
                    <a:pt x="304" y="934"/>
                  </a:lnTo>
                  <a:lnTo>
                    <a:pt x="309" y="919"/>
                  </a:lnTo>
                  <a:lnTo>
                    <a:pt x="314" y="905"/>
                  </a:lnTo>
                  <a:lnTo>
                    <a:pt x="320" y="892"/>
                  </a:lnTo>
                  <a:lnTo>
                    <a:pt x="326" y="878"/>
                  </a:lnTo>
                  <a:lnTo>
                    <a:pt x="333" y="866"/>
                  </a:lnTo>
                  <a:lnTo>
                    <a:pt x="341" y="854"/>
                  </a:lnTo>
                  <a:lnTo>
                    <a:pt x="351" y="844"/>
                  </a:lnTo>
                  <a:lnTo>
                    <a:pt x="359" y="833"/>
                  </a:lnTo>
                  <a:lnTo>
                    <a:pt x="369" y="822"/>
                  </a:lnTo>
                  <a:lnTo>
                    <a:pt x="380" y="814"/>
                  </a:lnTo>
                  <a:lnTo>
                    <a:pt x="391" y="805"/>
                  </a:lnTo>
                  <a:lnTo>
                    <a:pt x="402" y="798"/>
                  </a:lnTo>
                  <a:lnTo>
                    <a:pt x="414" y="791"/>
                  </a:lnTo>
                  <a:lnTo>
                    <a:pt x="426" y="786"/>
                  </a:lnTo>
                  <a:lnTo>
                    <a:pt x="439" y="780"/>
                  </a:lnTo>
                  <a:lnTo>
                    <a:pt x="453" y="778"/>
                  </a:lnTo>
                  <a:lnTo>
                    <a:pt x="466" y="775"/>
                  </a:lnTo>
                  <a:lnTo>
                    <a:pt x="481" y="774"/>
                  </a:lnTo>
                  <a:lnTo>
                    <a:pt x="496" y="774"/>
                  </a:lnTo>
                  <a:lnTo>
                    <a:pt x="510" y="775"/>
                  </a:lnTo>
                  <a:lnTo>
                    <a:pt x="527" y="778"/>
                  </a:lnTo>
                  <a:lnTo>
                    <a:pt x="541" y="782"/>
                  </a:lnTo>
                  <a:lnTo>
                    <a:pt x="558" y="787"/>
                  </a:lnTo>
                  <a:lnTo>
                    <a:pt x="574" y="794"/>
                  </a:lnTo>
                  <a:lnTo>
                    <a:pt x="590" y="802"/>
                  </a:lnTo>
                  <a:lnTo>
                    <a:pt x="607" y="813"/>
                  </a:lnTo>
                  <a:lnTo>
                    <a:pt x="623" y="823"/>
                  </a:lnTo>
                  <a:lnTo>
                    <a:pt x="809" y="960"/>
                  </a:lnTo>
                  <a:lnTo>
                    <a:pt x="829" y="977"/>
                  </a:lnTo>
                  <a:lnTo>
                    <a:pt x="848" y="993"/>
                  </a:lnTo>
                  <a:lnTo>
                    <a:pt x="865" y="1010"/>
                  </a:lnTo>
                  <a:lnTo>
                    <a:pt x="881" y="1029"/>
                  </a:lnTo>
                  <a:lnTo>
                    <a:pt x="895" y="1048"/>
                  </a:lnTo>
                  <a:lnTo>
                    <a:pt x="907" y="1069"/>
                  </a:lnTo>
                  <a:lnTo>
                    <a:pt x="918" y="1091"/>
                  </a:lnTo>
                  <a:lnTo>
                    <a:pt x="927" y="1114"/>
                  </a:lnTo>
                  <a:lnTo>
                    <a:pt x="935" y="1139"/>
                  </a:lnTo>
                  <a:lnTo>
                    <a:pt x="942" y="1166"/>
                  </a:lnTo>
                  <a:lnTo>
                    <a:pt x="948" y="1194"/>
                  </a:lnTo>
                  <a:lnTo>
                    <a:pt x="954" y="1226"/>
                  </a:lnTo>
                  <a:lnTo>
                    <a:pt x="958" y="1259"/>
                  </a:lnTo>
                  <a:lnTo>
                    <a:pt x="962" y="1295"/>
                  </a:lnTo>
                  <a:lnTo>
                    <a:pt x="967" y="1375"/>
                  </a:lnTo>
                  <a:lnTo>
                    <a:pt x="977" y="1586"/>
                  </a:lnTo>
                  <a:close/>
                  <a:moveTo>
                    <a:pt x="310" y="2728"/>
                  </a:moveTo>
                  <a:lnTo>
                    <a:pt x="107" y="2728"/>
                  </a:lnTo>
                  <a:lnTo>
                    <a:pt x="107" y="3570"/>
                  </a:lnTo>
                  <a:lnTo>
                    <a:pt x="317" y="3570"/>
                  </a:lnTo>
                  <a:lnTo>
                    <a:pt x="310" y="2728"/>
                  </a:lnTo>
                  <a:close/>
                  <a:moveTo>
                    <a:pt x="1185" y="1875"/>
                  </a:moveTo>
                  <a:lnTo>
                    <a:pt x="1185" y="1875"/>
                  </a:lnTo>
                  <a:lnTo>
                    <a:pt x="1185" y="1867"/>
                  </a:lnTo>
                  <a:lnTo>
                    <a:pt x="1188" y="1859"/>
                  </a:lnTo>
                  <a:lnTo>
                    <a:pt x="1192" y="1852"/>
                  </a:lnTo>
                  <a:lnTo>
                    <a:pt x="1196" y="1847"/>
                  </a:lnTo>
                  <a:lnTo>
                    <a:pt x="1202" y="1842"/>
                  </a:lnTo>
                  <a:lnTo>
                    <a:pt x="1209" y="1838"/>
                  </a:lnTo>
                  <a:lnTo>
                    <a:pt x="1217" y="1835"/>
                  </a:lnTo>
                  <a:lnTo>
                    <a:pt x="1225" y="1835"/>
                  </a:lnTo>
                  <a:lnTo>
                    <a:pt x="1233" y="1835"/>
                  </a:lnTo>
                  <a:lnTo>
                    <a:pt x="1240" y="1838"/>
                  </a:lnTo>
                  <a:lnTo>
                    <a:pt x="1247" y="1842"/>
                  </a:lnTo>
                  <a:lnTo>
                    <a:pt x="1253" y="1847"/>
                  </a:lnTo>
                  <a:lnTo>
                    <a:pt x="1259" y="1852"/>
                  </a:lnTo>
                  <a:lnTo>
                    <a:pt x="1261" y="1859"/>
                  </a:lnTo>
                  <a:lnTo>
                    <a:pt x="1264" y="1867"/>
                  </a:lnTo>
                  <a:lnTo>
                    <a:pt x="1265" y="1875"/>
                  </a:lnTo>
                  <a:lnTo>
                    <a:pt x="1264" y="1883"/>
                  </a:lnTo>
                  <a:lnTo>
                    <a:pt x="1261" y="1891"/>
                  </a:lnTo>
                  <a:lnTo>
                    <a:pt x="1259" y="1898"/>
                  </a:lnTo>
                  <a:lnTo>
                    <a:pt x="1253" y="1903"/>
                  </a:lnTo>
                  <a:lnTo>
                    <a:pt x="1247" y="1909"/>
                  </a:lnTo>
                  <a:lnTo>
                    <a:pt x="1240" y="1911"/>
                  </a:lnTo>
                  <a:lnTo>
                    <a:pt x="1233" y="1914"/>
                  </a:lnTo>
                  <a:lnTo>
                    <a:pt x="1225" y="1915"/>
                  </a:lnTo>
                  <a:lnTo>
                    <a:pt x="1217" y="1914"/>
                  </a:lnTo>
                  <a:lnTo>
                    <a:pt x="1209" y="1911"/>
                  </a:lnTo>
                  <a:lnTo>
                    <a:pt x="1202" y="1909"/>
                  </a:lnTo>
                  <a:lnTo>
                    <a:pt x="1196" y="1903"/>
                  </a:lnTo>
                  <a:lnTo>
                    <a:pt x="1192" y="1898"/>
                  </a:lnTo>
                  <a:lnTo>
                    <a:pt x="1188" y="1891"/>
                  </a:lnTo>
                  <a:lnTo>
                    <a:pt x="1185" y="1883"/>
                  </a:lnTo>
                  <a:lnTo>
                    <a:pt x="1185" y="1875"/>
                  </a:lnTo>
                  <a:close/>
                  <a:moveTo>
                    <a:pt x="1141" y="2728"/>
                  </a:moveTo>
                  <a:lnTo>
                    <a:pt x="1142" y="2621"/>
                  </a:lnTo>
                  <a:lnTo>
                    <a:pt x="1397" y="2621"/>
                  </a:lnTo>
                  <a:lnTo>
                    <a:pt x="1397" y="3678"/>
                  </a:lnTo>
                  <a:lnTo>
                    <a:pt x="1076" y="3678"/>
                  </a:lnTo>
                  <a:lnTo>
                    <a:pt x="1083" y="3570"/>
                  </a:lnTo>
                  <a:lnTo>
                    <a:pt x="1290" y="3570"/>
                  </a:lnTo>
                  <a:lnTo>
                    <a:pt x="1290" y="2728"/>
                  </a:lnTo>
                  <a:lnTo>
                    <a:pt x="1141" y="2728"/>
                  </a:lnTo>
                  <a:close/>
                  <a:moveTo>
                    <a:pt x="1463" y="1880"/>
                  </a:moveTo>
                  <a:lnTo>
                    <a:pt x="1651" y="1956"/>
                  </a:lnTo>
                  <a:lnTo>
                    <a:pt x="1677" y="1965"/>
                  </a:lnTo>
                  <a:lnTo>
                    <a:pt x="1699" y="1972"/>
                  </a:lnTo>
                  <a:lnTo>
                    <a:pt x="1721" y="1976"/>
                  </a:lnTo>
                  <a:lnTo>
                    <a:pt x="1741" y="1977"/>
                  </a:lnTo>
                  <a:lnTo>
                    <a:pt x="1763" y="1976"/>
                  </a:lnTo>
                  <a:lnTo>
                    <a:pt x="1784" y="1972"/>
                  </a:lnTo>
                  <a:lnTo>
                    <a:pt x="1807" y="1965"/>
                  </a:lnTo>
                  <a:lnTo>
                    <a:pt x="1832" y="1956"/>
                  </a:lnTo>
                  <a:lnTo>
                    <a:pt x="2010" y="1890"/>
                  </a:lnTo>
                  <a:lnTo>
                    <a:pt x="2010" y="1950"/>
                  </a:lnTo>
                  <a:lnTo>
                    <a:pt x="1977" y="1961"/>
                  </a:lnTo>
                  <a:lnTo>
                    <a:pt x="1937" y="1975"/>
                  </a:lnTo>
                  <a:lnTo>
                    <a:pt x="1887" y="1992"/>
                  </a:lnTo>
                  <a:lnTo>
                    <a:pt x="1830" y="2015"/>
                  </a:lnTo>
                  <a:lnTo>
                    <a:pt x="1811" y="2022"/>
                  </a:lnTo>
                  <a:lnTo>
                    <a:pt x="1791" y="2027"/>
                  </a:lnTo>
                  <a:lnTo>
                    <a:pt x="1771" y="2030"/>
                  </a:lnTo>
                  <a:lnTo>
                    <a:pt x="1750" y="2032"/>
                  </a:lnTo>
                  <a:lnTo>
                    <a:pt x="1729" y="2031"/>
                  </a:lnTo>
                  <a:lnTo>
                    <a:pt x="1709" y="2030"/>
                  </a:lnTo>
                  <a:lnTo>
                    <a:pt x="1687" y="2024"/>
                  </a:lnTo>
                  <a:lnTo>
                    <a:pt x="1667" y="2017"/>
                  </a:lnTo>
                  <a:lnTo>
                    <a:pt x="1463" y="1938"/>
                  </a:lnTo>
                  <a:lnTo>
                    <a:pt x="1463" y="1880"/>
                  </a:lnTo>
                  <a:close/>
                  <a:moveTo>
                    <a:pt x="2010" y="1647"/>
                  </a:moveTo>
                  <a:lnTo>
                    <a:pt x="1815" y="1613"/>
                  </a:lnTo>
                  <a:lnTo>
                    <a:pt x="1681" y="1639"/>
                  </a:lnTo>
                  <a:lnTo>
                    <a:pt x="1611" y="1723"/>
                  </a:lnTo>
                  <a:lnTo>
                    <a:pt x="1643" y="1741"/>
                  </a:lnTo>
                  <a:lnTo>
                    <a:pt x="1787" y="1695"/>
                  </a:lnTo>
                  <a:lnTo>
                    <a:pt x="1882" y="1781"/>
                  </a:lnTo>
                  <a:lnTo>
                    <a:pt x="1846" y="1821"/>
                  </a:lnTo>
                  <a:lnTo>
                    <a:pt x="1773" y="1756"/>
                  </a:lnTo>
                  <a:lnTo>
                    <a:pt x="1638" y="1799"/>
                  </a:lnTo>
                  <a:lnTo>
                    <a:pt x="1527" y="1741"/>
                  </a:lnTo>
                  <a:lnTo>
                    <a:pt x="1609" y="1640"/>
                  </a:lnTo>
                  <a:lnTo>
                    <a:pt x="1463" y="1640"/>
                  </a:lnTo>
                  <a:lnTo>
                    <a:pt x="1463" y="1586"/>
                  </a:lnTo>
                  <a:lnTo>
                    <a:pt x="1663" y="1586"/>
                  </a:lnTo>
                  <a:lnTo>
                    <a:pt x="1815" y="1559"/>
                  </a:lnTo>
                  <a:lnTo>
                    <a:pt x="2010" y="1592"/>
                  </a:lnTo>
                  <a:lnTo>
                    <a:pt x="2010" y="1647"/>
                  </a:lnTo>
                  <a:close/>
                </a:path>
              </a:pathLst>
            </a:custGeom>
            <a:solidFill>
              <a:srgbClr val="14AA96"/>
            </a:solidFill>
            <a:ln w="9525">
              <a:solidFill>
                <a:srgbClr val="14AA96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charset="0"/>
              </a:endParaRPr>
            </a:p>
          </p:txBody>
        </p:sp>
        <p:sp>
          <p:nvSpPr>
            <p:cNvPr id="60" name="TextBox 7"/>
            <p:cNvSpPr txBox="1">
              <a:spLocks noChangeArrowheads="1"/>
            </p:cNvSpPr>
            <p:nvPr/>
          </p:nvSpPr>
          <p:spPr bwMode="auto">
            <a:xfrm>
              <a:off x="6433202" y="1783489"/>
              <a:ext cx="1367683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b="1" dirty="0">
                  <a:solidFill>
                    <a:srgbClr val="14AA96"/>
                  </a:solidFill>
                  <a:cs typeface="Arial" panose="020B0604020202020204" pitchFamily="34" charset="0"/>
                </a:rPr>
                <a:t>Товары, услуги</a:t>
              </a:r>
            </a:p>
          </p:txBody>
        </p:sp>
        <p:sp>
          <p:nvSpPr>
            <p:cNvPr id="64" name="TextBox 7"/>
            <p:cNvSpPr txBox="1">
              <a:spLocks noChangeArrowheads="1"/>
            </p:cNvSpPr>
            <p:nvPr/>
          </p:nvSpPr>
          <p:spPr bwMode="auto">
            <a:xfrm>
              <a:off x="4576443" y="2420468"/>
              <a:ext cx="1390189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b="1" dirty="0">
                  <a:solidFill>
                    <a:srgbClr val="14AA96"/>
                  </a:solidFill>
                  <a:cs typeface="Arial" panose="020B0604020202020204" pitchFamily="34" charset="0"/>
                </a:rPr>
                <a:t>Задолженность</a:t>
              </a:r>
            </a:p>
          </p:txBody>
        </p:sp>
        <p:sp>
          <p:nvSpPr>
            <p:cNvPr id="65" name="TextBox 7"/>
            <p:cNvSpPr txBox="1">
              <a:spLocks noChangeArrowheads="1"/>
            </p:cNvSpPr>
            <p:nvPr/>
          </p:nvSpPr>
          <p:spPr bwMode="auto">
            <a:xfrm rot="2359169">
              <a:off x="4463949" y="4097361"/>
              <a:ext cx="648191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b="1" dirty="0">
                  <a:solidFill>
                    <a:srgbClr val="F6BB42"/>
                  </a:solidFill>
                  <a:cs typeface="Arial" panose="020B0604020202020204" pitchFamily="34" charset="0"/>
                </a:rPr>
                <a:t>До 90%</a:t>
              </a:r>
            </a:p>
          </p:txBody>
        </p:sp>
        <p:sp>
          <p:nvSpPr>
            <p:cNvPr id="66" name="Freeform 30"/>
            <p:cNvSpPr>
              <a:spLocks noChangeAspect="1" noEditPoints="1"/>
            </p:cNvSpPr>
            <p:nvPr/>
          </p:nvSpPr>
          <p:spPr bwMode="auto">
            <a:xfrm>
              <a:off x="6878836" y="5015446"/>
              <a:ext cx="476414" cy="358564"/>
            </a:xfrm>
            <a:custGeom>
              <a:avLst/>
              <a:gdLst>
                <a:gd name="T0" fmla="*/ 2147483647 w 6336"/>
                <a:gd name="T1" fmla="*/ 2147483647 h 4763"/>
                <a:gd name="T2" fmla="*/ 2147483647 w 6336"/>
                <a:gd name="T3" fmla="*/ 2147483647 h 4763"/>
                <a:gd name="T4" fmla="*/ 2147483647 w 6336"/>
                <a:gd name="T5" fmla="*/ 2147483647 h 4763"/>
                <a:gd name="T6" fmla="*/ 2147483647 w 6336"/>
                <a:gd name="T7" fmla="*/ 2147483647 h 4763"/>
                <a:gd name="T8" fmla="*/ 2147483647 w 6336"/>
                <a:gd name="T9" fmla="*/ 2147483647 h 4763"/>
                <a:gd name="T10" fmla="*/ 2147483647 w 6336"/>
                <a:gd name="T11" fmla="*/ 2147483647 h 4763"/>
                <a:gd name="T12" fmla="*/ 2147483647 w 6336"/>
                <a:gd name="T13" fmla="*/ 2147483647 h 4763"/>
                <a:gd name="T14" fmla="*/ 2147483647 w 6336"/>
                <a:gd name="T15" fmla="*/ 2147483647 h 4763"/>
                <a:gd name="T16" fmla="*/ 2147483647 w 6336"/>
                <a:gd name="T17" fmla="*/ 2147483647 h 4763"/>
                <a:gd name="T18" fmla="*/ 2147483647 w 6336"/>
                <a:gd name="T19" fmla="*/ 2147483647 h 4763"/>
                <a:gd name="T20" fmla="*/ 2147483647 w 6336"/>
                <a:gd name="T21" fmla="*/ 2147483647 h 4763"/>
                <a:gd name="T22" fmla="*/ 2147483647 w 6336"/>
                <a:gd name="T23" fmla="*/ 2147483647 h 4763"/>
                <a:gd name="T24" fmla="*/ 2147483647 w 6336"/>
                <a:gd name="T25" fmla="*/ 2147483647 h 4763"/>
                <a:gd name="T26" fmla="*/ 2147483647 w 6336"/>
                <a:gd name="T27" fmla="*/ 2147483647 h 4763"/>
                <a:gd name="T28" fmla="*/ 2147483647 w 6336"/>
                <a:gd name="T29" fmla="*/ 2147483647 h 4763"/>
                <a:gd name="T30" fmla="*/ 2147483647 w 6336"/>
                <a:gd name="T31" fmla="*/ 2147483647 h 4763"/>
                <a:gd name="T32" fmla="*/ 2147483647 w 6336"/>
                <a:gd name="T33" fmla="*/ 2147483647 h 4763"/>
                <a:gd name="T34" fmla="*/ 2147483647 w 6336"/>
                <a:gd name="T35" fmla="*/ 2147483647 h 4763"/>
                <a:gd name="T36" fmla="*/ 2147483647 w 6336"/>
                <a:gd name="T37" fmla="*/ 2147483647 h 4763"/>
                <a:gd name="T38" fmla="*/ 2147483647 w 6336"/>
                <a:gd name="T39" fmla="*/ 2147483647 h 4763"/>
                <a:gd name="T40" fmla="*/ 2147483647 w 6336"/>
                <a:gd name="T41" fmla="*/ 2147483647 h 4763"/>
                <a:gd name="T42" fmla="*/ 2147483647 w 6336"/>
                <a:gd name="T43" fmla="*/ 2147483647 h 4763"/>
                <a:gd name="T44" fmla="*/ 2147483647 w 6336"/>
                <a:gd name="T45" fmla="*/ 2147483647 h 4763"/>
                <a:gd name="T46" fmla="*/ 2147483647 w 6336"/>
                <a:gd name="T47" fmla="*/ 2147483647 h 4763"/>
                <a:gd name="T48" fmla="*/ 2147483647 w 6336"/>
                <a:gd name="T49" fmla="*/ 2147483647 h 4763"/>
                <a:gd name="T50" fmla="*/ 2147483647 w 6336"/>
                <a:gd name="T51" fmla="*/ 2147483647 h 4763"/>
                <a:gd name="T52" fmla="*/ 2147483647 w 6336"/>
                <a:gd name="T53" fmla="*/ 2147483647 h 4763"/>
                <a:gd name="T54" fmla="*/ 2147483647 w 6336"/>
                <a:gd name="T55" fmla="*/ 2147483647 h 4763"/>
                <a:gd name="T56" fmla="*/ 2147483647 w 6336"/>
                <a:gd name="T57" fmla="*/ 2147483647 h 4763"/>
                <a:gd name="T58" fmla="*/ 2147483647 w 6336"/>
                <a:gd name="T59" fmla="*/ 2147483647 h 4763"/>
                <a:gd name="T60" fmla="*/ 2147483647 w 6336"/>
                <a:gd name="T61" fmla="*/ 2147483647 h 4763"/>
                <a:gd name="T62" fmla="*/ 2147483647 w 6336"/>
                <a:gd name="T63" fmla="*/ 2147483647 h 4763"/>
                <a:gd name="T64" fmla="*/ 2147483647 w 6336"/>
                <a:gd name="T65" fmla="*/ 2147483647 h 4763"/>
                <a:gd name="T66" fmla="*/ 2147483647 w 6336"/>
                <a:gd name="T67" fmla="*/ 2147483647 h 4763"/>
                <a:gd name="T68" fmla="*/ 2147483647 w 6336"/>
                <a:gd name="T69" fmla="*/ 2147483647 h 4763"/>
                <a:gd name="T70" fmla="*/ 2147483647 w 6336"/>
                <a:gd name="T71" fmla="*/ 2147483647 h 4763"/>
                <a:gd name="T72" fmla="*/ 2147483647 w 6336"/>
                <a:gd name="T73" fmla="*/ 2147483647 h 4763"/>
                <a:gd name="T74" fmla="*/ 2147483647 w 6336"/>
                <a:gd name="T75" fmla="*/ 2147483647 h 4763"/>
                <a:gd name="T76" fmla="*/ 2147483647 w 6336"/>
                <a:gd name="T77" fmla="*/ 2147483647 h 4763"/>
                <a:gd name="T78" fmla="*/ 2147483647 w 6336"/>
                <a:gd name="T79" fmla="*/ 2147483647 h 4763"/>
                <a:gd name="T80" fmla="*/ 2147483647 w 6336"/>
                <a:gd name="T81" fmla="*/ 2147483647 h 4763"/>
                <a:gd name="T82" fmla="*/ 2147483647 w 6336"/>
                <a:gd name="T83" fmla="*/ 2147483647 h 4763"/>
                <a:gd name="T84" fmla="*/ 2147483647 w 6336"/>
                <a:gd name="T85" fmla="*/ 2147483647 h 4763"/>
                <a:gd name="T86" fmla="*/ 0 w 6336"/>
                <a:gd name="T87" fmla="*/ 2147483647 h 4763"/>
                <a:gd name="T88" fmla="*/ 2147483647 w 6336"/>
                <a:gd name="T89" fmla="*/ 2147483647 h 4763"/>
                <a:gd name="T90" fmla="*/ 0 w 6336"/>
                <a:gd name="T91" fmla="*/ 2147483647 h 4763"/>
                <a:gd name="T92" fmla="*/ 2147483647 w 6336"/>
                <a:gd name="T93" fmla="*/ 2147483647 h 4763"/>
                <a:gd name="T94" fmla="*/ 2147483647 w 6336"/>
                <a:gd name="T95" fmla="*/ 2147483647 h 4763"/>
                <a:gd name="T96" fmla="*/ 2147483647 w 6336"/>
                <a:gd name="T97" fmla="*/ 2147483647 h 4763"/>
                <a:gd name="T98" fmla="*/ 2147483647 w 6336"/>
                <a:gd name="T99" fmla="*/ 2147483647 h 4763"/>
                <a:gd name="T100" fmla="*/ 2147483647 w 6336"/>
                <a:gd name="T101" fmla="*/ 2147483647 h 4763"/>
                <a:gd name="T102" fmla="*/ 2147483647 w 6336"/>
                <a:gd name="T103" fmla="*/ 2147483647 h 4763"/>
                <a:gd name="T104" fmla="*/ 2147483647 w 6336"/>
                <a:gd name="T105" fmla="*/ 2147483647 h 4763"/>
                <a:gd name="T106" fmla="*/ 2147483647 w 6336"/>
                <a:gd name="T107" fmla="*/ 2147483647 h 4763"/>
                <a:gd name="T108" fmla="*/ 2147483647 w 6336"/>
                <a:gd name="T109" fmla="*/ 2147483647 h 4763"/>
                <a:gd name="T110" fmla="*/ 2147483647 w 6336"/>
                <a:gd name="T111" fmla="*/ 2147483647 h 4763"/>
                <a:gd name="T112" fmla="*/ 2147483647 w 6336"/>
                <a:gd name="T113" fmla="*/ 2147483647 h 4763"/>
                <a:gd name="T114" fmla="*/ 2147483647 w 6336"/>
                <a:gd name="T115" fmla="*/ 2147483647 h 4763"/>
                <a:gd name="T116" fmla="*/ 2147483647 w 6336"/>
                <a:gd name="T117" fmla="*/ 2147483647 h 4763"/>
                <a:gd name="T118" fmla="*/ 2147483647 w 6336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36"/>
                <a:gd name="T181" fmla="*/ 0 h 4763"/>
                <a:gd name="T182" fmla="*/ 6336 w 6336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36" h="4763">
                  <a:moveTo>
                    <a:pt x="1772" y="3695"/>
                  </a:moveTo>
                  <a:lnTo>
                    <a:pt x="109" y="2820"/>
                  </a:lnTo>
                  <a:lnTo>
                    <a:pt x="109" y="2672"/>
                  </a:lnTo>
                  <a:lnTo>
                    <a:pt x="1772" y="3547"/>
                  </a:lnTo>
                  <a:lnTo>
                    <a:pt x="1772" y="3695"/>
                  </a:lnTo>
                  <a:close/>
                  <a:moveTo>
                    <a:pt x="3814" y="1925"/>
                  </a:moveTo>
                  <a:lnTo>
                    <a:pt x="4488" y="1668"/>
                  </a:lnTo>
                  <a:lnTo>
                    <a:pt x="2515" y="608"/>
                  </a:lnTo>
                  <a:lnTo>
                    <a:pt x="1795" y="857"/>
                  </a:lnTo>
                  <a:lnTo>
                    <a:pt x="3814" y="1925"/>
                  </a:lnTo>
                  <a:close/>
                  <a:moveTo>
                    <a:pt x="4541" y="1785"/>
                  </a:moveTo>
                  <a:lnTo>
                    <a:pt x="3830" y="2056"/>
                  </a:lnTo>
                  <a:lnTo>
                    <a:pt x="3830" y="4109"/>
                  </a:lnTo>
                  <a:lnTo>
                    <a:pt x="4501" y="3874"/>
                  </a:lnTo>
                  <a:lnTo>
                    <a:pt x="4541" y="1785"/>
                  </a:lnTo>
                  <a:close/>
                  <a:moveTo>
                    <a:pt x="2218" y="1229"/>
                  </a:moveTo>
                  <a:lnTo>
                    <a:pt x="2218" y="1229"/>
                  </a:lnTo>
                  <a:lnTo>
                    <a:pt x="2183" y="1250"/>
                  </a:lnTo>
                  <a:lnTo>
                    <a:pt x="2148" y="1271"/>
                  </a:lnTo>
                  <a:lnTo>
                    <a:pt x="2116" y="1291"/>
                  </a:lnTo>
                  <a:lnTo>
                    <a:pt x="2084" y="1312"/>
                  </a:lnTo>
                  <a:lnTo>
                    <a:pt x="2056" y="1333"/>
                  </a:lnTo>
                  <a:lnTo>
                    <a:pt x="2030" y="1354"/>
                  </a:lnTo>
                  <a:lnTo>
                    <a:pt x="2005" y="1374"/>
                  </a:lnTo>
                  <a:lnTo>
                    <a:pt x="1982" y="1395"/>
                  </a:lnTo>
                  <a:lnTo>
                    <a:pt x="1961" y="1416"/>
                  </a:lnTo>
                  <a:lnTo>
                    <a:pt x="1944" y="1435"/>
                  </a:lnTo>
                  <a:lnTo>
                    <a:pt x="1928" y="1456"/>
                  </a:lnTo>
                  <a:lnTo>
                    <a:pt x="1914" y="1476"/>
                  </a:lnTo>
                  <a:lnTo>
                    <a:pt x="1904" y="1496"/>
                  </a:lnTo>
                  <a:lnTo>
                    <a:pt x="1894" y="1515"/>
                  </a:lnTo>
                  <a:lnTo>
                    <a:pt x="1888" y="1536"/>
                  </a:lnTo>
                  <a:lnTo>
                    <a:pt x="1885" y="1553"/>
                  </a:lnTo>
                  <a:lnTo>
                    <a:pt x="1885" y="1569"/>
                  </a:lnTo>
                  <a:lnTo>
                    <a:pt x="1886" y="1587"/>
                  </a:lnTo>
                  <a:lnTo>
                    <a:pt x="1890" y="1603"/>
                  </a:lnTo>
                  <a:lnTo>
                    <a:pt x="1898" y="1619"/>
                  </a:lnTo>
                  <a:lnTo>
                    <a:pt x="1907" y="1634"/>
                  </a:lnTo>
                  <a:lnTo>
                    <a:pt x="1920" y="1650"/>
                  </a:lnTo>
                  <a:lnTo>
                    <a:pt x="1936" y="1666"/>
                  </a:lnTo>
                  <a:lnTo>
                    <a:pt x="1955" y="1681"/>
                  </a:lnTo>
                  <a:lnTo>
                    <a:pt x="1976" y="1695"/>
                  </a:lnTo>
                  <a:lnTo>
                    <a:pt x="2001" y="1710"/>
                  </a:lnTo>
                  <a:lnTo>
                    <a:pt x="2032" y="1724"/>
                  </a:lnTo>
                  <a:lnTo>
                    <a:pt x="2064" y="1737"/>
                  </a:lnTo>
                  <a:lnTo>
                    <a:pt x="2100" y="1748"/>
                  </a:lnTo>
                  <a:lnTo>
                    <a:pt x="2140" y="1759"/>
                  </a:lnTo>
                  <a:lnTo>
                    <a:pt x="2185" y="1769"/>
                  </a:lnTo>
                  <a:lnTo>
                    <a:pt x="2234" y="1778"/>
                  </a:lnTo>
                  <a:lnTo>
                    <a:pt x="2282" y="1785"/>
                  </a:lnTo>
                  <a:lnTo>
                    <a:pt x="2333" y="1791"/>
                  </a:lnTo>
                  <a:lnTo>
                    <a:pt x="2386" y="1796"/>
                  </a:lnTo>
                  <a:lnTo>
                    <a:pt x="2440" y="1797"/>
                  </a:lnTo>
                  <a:lnTo>
                    <a:pt x="2496" y="1799"/>
                  </a:lnTo>
                  <a:lnTo>
                    <a:pt x="2554" y="1799"/>
                  </a:lnTo>
                  <a:lnTo>
                    <a:pt x="2611" y="1799"/>
                  </a:lnTo>
                  <a:lnTo>
                    <a:pt x="2670" y="1796"/>
                  </a:lnTo>
                  <a:lnTo>
                    <a:pt x="2731" y="1791"/>
                  </a:lnTo>
                  <a:lnTo>
                    <a:pt x="2791" y="1786"/>
                  </a:lnTo>
                  <a:lnTo>
                    <a:pt x="2854" y="1780"/>
                  </a:lnTo>
                  <a:lnTo>
                    <a:pt x="2914" y="1772"/>
                  </a:lnTo>
                  <a:lnTo>
                    <a:pt x="2976" y="1764"/>
                  </a:lnTo>
                  <a:lnTo>
                    <a:pt x="3040" y="1754"/>
                  </a:lnTo>
                  <a:lnTo>
                    <a:pt x="3103" y="1743"/>
                  </a:lnTo>
                  <a:lnTo>
                    <a:pt x="3165" y="1730"/>
                  </a:lnTo>
                  <a:lnTo>
                    <a:pt x="2218" y="1229"/>
                  </a:lnTo>
                  <a:close/>
                  <a:moveTo>
                    <a:pt x="4258" y="1084"/>
                  </a:moveTo>
                  <a:lnTo>
                    <a:pt x="4258" y="1084"/>
                  </a:lnTo>
                  <a:lnTo>
                    <a:pt x="4252" y="1073"/>
                  </a:lnTo>
                  <a:lnTo>
                    <a:pt x="4244" y="1060"/>
                  </a:lnTo>
                  <a:lnTo>
                    <a:pt x="4234" y="1049"/>
                  </a:lnTo>
                  <a:lnTo>
                    <a:pt x="4223" y="1038"/>
                  </a:lnTo>
                  <a:lnTo>
                    <a:pt x="4210" y="1026"/>
                  </a:lnTo>
                  <a:lnTo>
                    <a:pt x="4196" y="1015"/>
                  </a:lnTo>
                  <a:lnTo>
                    <a:pt x="4180" y="1004"/>
                  </a:lnTo>
                  <a:lnTo>
                    <a:pt x="4162" y="994"/>
                  </a:lnTo>
                  <a:lnTo>
                    <a:pt x="4143" y="985"/>
                  </a:lnTo>
                  <a:lnTo>
                    <a:pt x="4122" y="975"/>
                  </a:lnTo>
                  <a:lnTo>
                    <a:pt x="4078" y="958"/>
                  </a:lnTo>
                  <a:lnTo>
                    <a:pt x="4027" y="942"/>
                  </a:lnTo>
                  <a:lnTo>
                    <a:pt x="3969" y="929"/>
                  </a:lnTo>
                  <a:lnTo>
                    <a:pt x="3907" y="918"/>
                  </a:lnTo>
                  <a:lnTo>
                    <a:pt x="3841" y="908"/>
                  </a:lnTo>
                  <a:lnTo>
                    <a:pt x="3770" y="900"/>
                  </a:lnTo>
                  <a:lnTo>
                    <a:pt x="3693" y="897"/>
                  </a:lnTo>
                  <a:lnTo>
                    <a:pt x="3613" y="895"/>
                  </a:lnTo>
                  <a:lnTo>
                    <a:pt x="3529" y="895"/>
                  </a:lnTo>
                  <a:lnTo>
                    <a:pt x="3441" y="900"/>
                  </a:lnTo>
                  <a:lnTo>
                    <a:pt x="3348" y="908"/>
                  </a:lnTo>
                  <a:lnTo>
                    <a:pt x="4132" y="1328"/>
                  </a:lnTo>
                  <a:lnTo>
                    <a:pt x="4154" y="1309"/>
                  </a:lnTo>
                  <a:lnTo>
                    <a:pt x="4173" y="1290"/>
                  </a:lnTo>
                  <a:lnTo>
                    <a:pt x="4191" y="1272"/>
                  </a:lnTo>
                  <a:lnTo>
                    <a:pt x="4207" y="1253"/>
                  </a:lnTo>
                  <a:lnTo>
                    <a:pt x="4220" y="1235"/>
                  </a:lnTo>
                  <a:lnTo>
                    <a:pt x="4233" y="1219"/>
                  </a:lnTo>
                  <a:lnTo>
                    <a:pt x="4242" y="1204"/>
                  </a:lnTo>
                  <a:lnTo>
                    <a:pt x="4250" y="1188"/>
                  </a:lnTo>
                  <a:lnTo>
                    <a:pt x="4256" y="1172"/>
                  </a:lnTo>
                  <a:lnTo>
                    <a:pt x="4261" y="1157"/>
                  </a:lnTo>
                  <a:lnTo>
                    <a:pt x="4263" y="1144"/>
                  </a:lnTo>
                  <a:lnTo>
                    <a:pt x="4264" y="1130"/>
                  </a:lnTo>
                  <a:lnTo>
                    <a:pt x="4266" y="1117"/>
                  </a:lnTo>
                  <a:lnTo>
                    <a:pt x="4264" y="1106"/>
                  </a:lnTo>
                  <a:lnTo>
                    <a:pt x="4261" y="1095"/>
                  </a:lnTo>
                  <a:lnTo>
                    <a:pt x="4258" y="1084"/>
                  </a:lnTo>
                  <a:close/>
                  <a:moveTo>
                    <a:pt x="1997" y="1111"/>
                  </a:moveTo>
                  <a:lnTo>
                    <a:pt x="383" y="1655"/>
                  </a:lnTo>
                  <a:lnTo>
                    <a:pt x="1933" y="2482"/>
                  </a:lnTo>
                  <a:lnTo>
                    <a:pt x="3516" y="1915"/>
                  </a:lnTo>
                  <a:lnTo>
                    <a:pt x="3342" y="1824"/>
                  </a:lnTo>
                  <a:lnTo>
                    <a:pt x="3269" y="1842"/>
                  </a:lnTo>
                  <a:lnTo>
                    <a:pt x="3194" y="1858"/>
                  </a:lnTo>
                  <a:lnTo>
                    <a:pt x="3119" y="1872"/>
                  </a:lnTo>
                  <a:lnTo>
                    <a:pt x="3044" y="1885"/>
                  </a:lnTo>
                  <a:lnTo>
                    <a:pt x="2969" y="1898"/>
                  </a:lnTo>
                  <a:lnTo>
                    <a:pt x="2893" y="1907"/>
                  </a:lnTo>
                  <a:lnTo>
                    <a:pt x="2820" y="1915"/>
                  </a:lnTo>
                  <a:lnTo>
                    <a:pt x="2747" y="1922"/>
                  </a:lnTo>
                  <a:lnTo>
                    <a:pt x="2675" y="1927"/>
                  </a:lnTo>
                  <a:lnTo>
                    <a:pt x="2603" y="1930"/>
                  </a:lnTo>
                  <a:lnTo>
                    <a:pt x="2534" y="1931"/>
                  </a:lnTo>
                  <a:lnTo>
                    <a:pt x="2466" y="1930"/>
                  </a:lnTo>
                  <a:lnTo>
                    <a:pt x="2399" y="1927"/>
                  </a:lnTo>
                  <a:lnTo>
                    <a:pt x="2335" y="1923"/>
                  </a:lnTo>
                  <a:lnTo>
                    <a:pt x="2273" y="1915"/>
                  </a:lnTo>
                  <a:lnTo>
                    <a:pt x="2212" y="1907"/>
                  </a:lnTo>
                  <a:lnTo>
                    <a:pt x="2166" y="1899"/>
                  </a:lnTo>
                  <a:lnTo>
                    <a:pt x="2118" y="1888"/>
                  </a:lnTo>
                  <a:lnTo>
                    <a:pt x="2073" y="1877"/>
                  </a:lnTo>
                  <a:lnTo>
                    <a:pt x="2030" y="1863"/>
                  </a:lnTo>
                  <a:lnTo>
                    <a:pt x="1989" y="1847"/>
                  </a:lnTo>
                  <a:lnTo>
                    <a:pt x="1949" y="1829"/>
                  </a:lnTo>
                  <a:lnTo>
                    <a:pt x="1912" y="1810"/>
                  </a:lnTo>
                  <a:lnTo>
                    <a:pt x="1878" y="1788"/>
                  </a:lnTo>
                  <a:lnTo>
                    <a:pt x="1848" y="1764"/>
                  </a:lnTo>
                  <a:lnTo>
                    <a:pt x="1834" y="1753"/>
                  </a:lnTo>
                  <a:lnTo>
                    <a:pt x="1821" y="1738"/>
                  </a:lnTo>
                  <a:lnTo>
                    <a:pt x="1808" y="1725"/>
                  </a:lnTo>
                  <a:lnTo>
                    <a:pt x="1799" y="1711"/>
                  </a:lnTo>
                  <a:lnTo>
                    <a:pt x="1787" y="1697"/>
                  </a:lnTo>
                  <a:lnTo>
                    <a:pt x="1780" y="1681"/>
                  </a:lnTo>
                  <a:lnTo>
                    <a:pt x="1772" y="1665"/>
                  </a:lnTo>
                  <a:lnTo>
                    <a:pt x="1765" y="1649"/>
                  </a:lnTo>
                  <a:lnTo>
                    <a:pt x="1760" y="1631"/>
                  </a:lnTo>
                  <a:lnTo>
                    <a:pt x="1757" y="1614"/>
                  </a:lnTo>
                  <a:lnTo>
                    <a:pt x="1754" y="1596"/>
                  </a:lnTo>
                  <a:lnTo>
                    <a:pt x="1752" y="1577"/>
                  </a:lnTo>
                  <a:lnTo>
                    <a:pt x="1752" y="1558"/>
                  </a:lnTo>
                  <a:lnTo>
                    <a:pt x="1754" y="1539"/>
                  </a:lnTo>
                  <a:lnTo>
                    <a:pt x="1759" y="1512"/>
                  </a:lnTo>
                  <a:lnTo>
                    <a:pt x="1765" y="1486"/>
                  </a:lnTo>
                  <a:lnTo>
                    <a:pt x="1775" y="1461"/>
                  </a:lnTo>
                  <a:lnTo>
                    <a:pt x="1786" y="1435"/>
                  </a:lnTo>
                  <a:lnTo>
                    <a:pt x="1800" y="1411"/>
                  </a:lnTo>
                  <a:lnTo>
                    <a:pt x="1816" y="1385"/>
                  </a:lnTo>
                  <a:lnTo>
                    <a:pt x="1834" y="1362"/>
                  </a:lnTo>
                  <a:lnTo>
                    <a:pt x="1855" y="1338"/>
                  </a:lnTo>
                  <a:lnTo>
                    <a:pt x="1875" y="1314"/>
                  </a:lnTo>
                  <a:lnTo>
                    <a:pt x="1899" y="1290"/>
                  </a:lnTo>
                  <a:lnTo>
                    <a:pt x="1926" y="1266"/>
                  </a:lnTo>
                  <a:lnTo>
                    <a:pt x="1953" y="1243"/>
                  </a:lnTo>
                  <a:lnTo>
                    <a:pt x="1982" y="1221"/>
                  </a:lnTo>
                  <a:lnTo>
                    <a:pt x="2013" y="1199"/>
                  </a:lnTo>
                  <a:lnTo>
                    <a:pt x="2046" y="1176"/>
                  </a:lnTo>
                  <a:lnTo>
                    <a:pt x="2080" y="1156"/>
                  </a:lnTo>
                  <a:lnTo>
                    <a:pt x="1997" y="1111"/>
                  </a:lnTo>
                  <a:close/>
                  <a:moveTo>
                    <a:pt x="2753" y="587"/>
                  </a:moveTo>
                  <a:lnTo>
                    <a:pt x="4496" y="0"/>
                  </a:lnTo>
                  <a:lnTo>
                    <a:pt x="6307" y="926"/>
                  </a:lnTo>
                  <a:lnTo>
                    <a:pt x="6307" y="1188"/>
                  </a:lnTo>
                  <a:lnTo>
                    <a:pt x="4671" y="1773"/>
                  </a:lnTo>
                  <a:lnTo>
                    <a:pt x="4667" y="2011"/>
                  </a:lnTo>
                  <a:lnTo>
                    <a:pt x="6221" y="1456"/>
                  </a:lnTo>
                  <a:lnTo>
                    <a:pt x="6221" y="1596"/>
                  </a:lnTo>
                  <a:lnTo>
                    <a:pt x="4665" y="2150"/>
                  </a:lnTo>
                  <a:lnTo>
                    <a:pt x="4662" y="2340"/>
                  </a:lnTo>
                  <a:lnTo>
                    <a:pt x="6336" y="1743"/>
                  </a:lnTo>
                  <a:lnTo>
                    <a:pt x="6336" y="1882"/>
                  </a:lnTo>
                  <a:lnTo>
                    <a:pt x="4659" y="2480"/>
                  </a:lnTo>
                  <a:lnTo>
                    <a:pt x="4655" y="2670"/>
                  </a:lnTo>
                  <a:lnTo>
                    <a:pt x="6218" y="2113"/>
                  </a:lnTo>
                  <a:lnTo>
                    <a:pt x="6218" y="2252"/>
                  </a:lnTo>
                  <a:lnTo>
                    <a:pt x="4652" y="2811"/>
                  </a:lnTo>
                  <a:lnTo>
                    <a:pt x="4649" y="2999"/>
                  </a:lnTo>
                  <a:lnTo>
                    <a:pt x="6336" y="2397"/>
                  </a:lnTo>
                  <a:lnTo>
                    <a:pt x="6336" y="2538"/>
                  </a:lnTo>
                  <a:lnTo>
                    <a:pt x="4646" y="3140"/>
                  </a:lnTo>
                  <a:lnTo>
                    <a:pt x="4643" y="3330"/>
                  </a:lnTo>
                  <a:lnTo>
                    <a:pt x="6223" y="2766"/>
                  </a:lnTo>
                  <a:lnTo>
                    <a:pt x="6223" y="2905"/>
                  </a:lnTo>
                  <a:lnTo>
                    <a:pt x="4639" y="3470"/>
                  </a:lnTo>
                  <a:lnTo>
                    <a:pt x="4636" y="3658"/>
                  </a:lnTo>
                  <a:lnTo>
                    <a:pt x="6336" y="3053"/>
                  </a:lnTo>
                  <a:lnTo>
                    <a:pt x="6336" y="3192"/>
                  </a:lnTo>
                  <a:lnTo>
                    <a:pt x="4633" y="3799"/>
                  </a:lnTo>
                  <a:lnTo>
                    <a:pt x="4630" y="3968"/>
                  </a:lnTo>
                  <a:lnTo>
                    <a:pt x="3699" y="4294"/>
                  </a:lnTo>
                  <a:lnTo>
                    <a:pt x="3699" y="4133"/>
                  </a:lnTo>
                  <a:lnTo>
                    <a:pt x="1933" y="4763"/>
                  </a:lnTo>
                  <a:lnTo>
                    <a:pt x="0" y="3745"/>
                  </a:lnTo>
                  <a:lnTo>
                    <a:pt x="0" y="3596"/>
                  </a:lnTo>
                  <a:lnTo>
                    <a:pt x="1944" y="4619"/>
                  </a:lnTo>
                  <a:lnTo>
                    <a:pt x="3699" y="3994"/>
                  </a:lnTo>
                  <a:lnTo>
                    <a:pt x="3699" y="3805"/>
                  </a:lnTo>
                  <a:lnTo>
                    <a:pt x="1933" y="4436"/>
                  </a:lnTo>
                  <a:lnTo>
                    <a:pt x="109" y="3475"/>
                  </a:lnTo>
                  <a:lnTo>
                    <a:pt x="109" y="3326"/>
                  </a:lnTo>
                  <a:lnTo>
                    <a:pt x="1944" y="4292"/>
                  </a:lnTo>
                  <a:lnTo>
                    <a:pt x="3699" y="3666"/>
                  </a:lnTo>
                  <a:lnTo>
                    <a:pt x="3699" y="3478"/>
                  </a:lnTo>
                  <a:lnTo>
                    <a:pt x="1933" y="4107"/>
                  </a:lnTo>
                  <a:lnTo>
                    <a:pt x="0" y="3090"/>
                  </a:lnTo>
                  <a:lnTo>
                    <a:pt x="0" y="2942"/>
                  </a:lnTo>
                  <a:lnTo>
                    <a:pt x="1944" y="3965"/>
                  </a:lnTo>
                  <a:lnTo>
                    <a:pt x="3699" y="3338"/>
                  </a:lnTo>
                  <a:lnTo>
                    <a:pt x="3699" y="3149"/>
                  </a:lnTo>
                  <a:lnTo>
                    <a:pt x="1947" y="3775"/>
                  </a:lnTo>
                  <a:lnTo>
                    <a:pt x="1947" y="3636"/>
                  </a:lnTo>
                  <a:lnTo>
                    <a:pt x="3699" y="3010"/>
                  </a:lnTo>
                  <a:lnTo>
                    <a:pt x="3699" y="2822"/>
                  </a:lnTo>
                  <a:lnTo>
                    <a:pt x="1933" y="3453"/>
                  </a:lnTo>
                  <a:lnTo>
                    <a:pt x="0" y="2434"/>
                  </a:lnTo>
                  <a:lnTo>
                    <a:pt x="0" y="2286"/>
                  </a:lnTo>
                  <a:lnTo>
                    <a:pt x="1944" y="3309"/>
                  </a:lnTo>
                  <a:lnTo>
                    <a:pt x="3699" y="2683"/>
                  </a:lnTo>
                  <a:lnTo>
                    <a:pt x="3699" y="2495"/>
                  </a:lnTo>
                  <a:lnTo>
                    <a:pt x="2089" y="3069"/>
                  </a:lnTo>
                  <a:lnTo>
                    <a:pt x="2089" y="2931"/>
                  </a:lnTo>
                  <a:lnTo>
                    <a:pt x="3699" y="2356"/>
                  </a:lnTo>
                  <a:lnTo>
                    <a:pt x="3699" y="2121"/>
                  </a:lnTo>
                  <a:lnTo>
                    <a:pt x="1914" y="2760"/>
                  </a:lnTo>
                  <a:lnTo>
                    <a:pt x="26" y="1754"/>
                  </a:lnTo>
                  <a:lnTo>
                    <a:pt x="26" y="1507"/>
                  </a:lnTo>
                  <a:lnTo>
                    <a:pt x="1465" y="1022"/>
                  </a:lnTo>
                  <a:lnTo>
                    <a:pt x="1465" y="832"/>
                  </a:lnTo>
                  <a:lnTo>
                    <a:pt x="1468" y="832"/>
                  </a:lnTo>
                  <a:lnTo>
                    <a:pt x="2526" y="466"/>
                  </a:lnTo>
                  <a:lnTo>
                    <a:pt x="2753" y="587"/>
                  </a:lnTo>
                  <a:close/>
                  <a:moveTo>
                    <a:pt x="4475" y="276"/>
                  </a:moveTo>
                  <a:lnTo>
                    <a:pt x="3061" y="753"/>
                  </a:lnTo>
                  <a:lnTo>
                    <a:pt x="3154" y="803"/>
                  </a:lnTo>
                  <a:lnTo>
                    <a:pt x="3259" y="789"/>
                  </a:lnTo>
                  <a:lnTo>
                    <a:pt x="3364" y="777"/>
                  </a:lnTo>
                  <a:lnTo>
                    <a:pt x="3466" y="769"/>
                  </a:lnTo>
                  <a:lnTo>
                    <a:pt x="3567" y="765"/>
                  </a:lnTo>
                  <a:lnTo>
                    <a:pt x="3666" y="765"/>
                  </a:lnTo>
                  <a:lnTo>
                    <a:pt x="3712" y="765"/>
                  </a:lnTo>
                  <a:lnTo>
                    <a:pt x="3760" y="768"/>
                  </a:lnTo>
                  <a:lnTo>
                    <a:pt x="3805" y="771"/>
                  </a:lnTo>
                  <a:lnTo>
                    <a:pt x="3849" y="774"/>
                  </a:lnTo>
                  <a:lnTo>
                    <a:pt x="3894" y="779"/>
                  </a:lnTo>
                  <a:lnTo>
                    <a:pt x="3936" y="785"/>
                  </a:lnTo>
                  <a:lnTo>
                    <a:pt x="3977" y="792"/>
                  </a:lnTo>
                  <a:lnTo>
                    <a:pt x="4015" y="801"/>
                  </a:lnTo>
                  <a:lnTo>
                    <a:pt x="4054" y="809"/>
                  </a:lnTo>
                  <a:lnTo>
                    <a:pt x="4090" y="820"/>
                  </a:lnTo>
                  <a:lnTo>
                    <a:pt x="4126" y="832"/>
                  </a:lnTo>
                  <a:lnTo>
                    <a:pt x="4158" y="844"/>
                  </a:lnTo>
                  <a:lnTo>
                    <a:pt x="4189" y="857"/>
                  </a:lnTo>
                  <a:lnTo>
                    <a:pt x="4220" y="873"/>
                  </a:lnTo>
                  <a:lnTo>
                    <a:pt x="4247" y="889"/>
                  </a:lnTo>
                  <a:lnTo>
                    <a:pt x="4272" y="905"/>
                  </a:lnTo>
                  <a:lnTo>
                    <a:pt x="4295" y="924"/>
                  </a:lnTo>
                  <a:lnTo>
                    <a:pt x="4317" y="943"/>
                  </a:lnTo>
                  <a:lnTo>
                    <a:pt x="4336" y="964"/>
                  </a:lnTo>
                  <a:lnTo>
                    <a:pt x="4352" y="986"/>
                  </a:lnTo>
                  <a:lnTo>
                    <a:pt x="4367" y="1009"/>
                  </a:lnTo>
                  <a:lnTo>
                    <a:pt x="4379" y="1033"/>
                  </a:lnTo>
                  <a:lnTo>
                    <a:pt x="4387" y="1057"/>
                  </a:lnTo>
                  <a:lnTo>
                    <a:pt x="4394" y="1081"/>
                  </a:lnTo>
                  <a:lnTo>
                    <a:pt x="4397" y="1103"/>
                  </a:lnTo>
                  <a:lnTo>
                    <a:pt x="4397" y="1127"/>
                  </a:lnTo>
                  <a:lnTo>
                    <a:pt x="4397" y="1149"/>
                  </a:lnTo>
                  <a:lnTo>
                    <a:pt x="4392" y="1173"/>
                  </a:lnTo>
                  <a:lnTo>
                    <a:pt x="4387" y="1196"/>
                  </a:lnTo>
                  <a:lnTo>
                    <a:pt x="4379" y="1219"/>
                  </a:lnTo>
                  <a:lnTo>
                    <a:pt x="4370" y="1242"/>
                  </a:lnTo>
                  <a:lnTo>
                    <a:pt x="4359" y="1264"/>
                  </a:lnTo>
                  <a:lnTo>
                    <a:pt x="4344" y="1287"/>
                  </a:lnTo>
                  <a:lnTo>
                    <a:pt x="4330" y="1309"/>
                  </a:lnTo>
                  <a:lnTo>
                    <a:pt x="4312" y="1331"/>
                  </a:lnTo>
                  <a:lnTo>
                    <a:pt x="4295" y="1352"/>
                  </a:lnTo>
                  <a:lnTo>
                    <a:pt x="4276" y="1373"/>
                  </a:lnTo>
                  <a:lnTo>
                    <a:pt x="4255" y="1393"/>
                  </a:lnTo>
                  <a:lnTo>
                    <a:pt x="4542" y="1548"/>
                  </a:lnTo>
                  <a:lnTo>
                    <a:pt x="5967" y="1038"/>
                  </a:lnTo>
                  <a:lnTo>
                    <a:pt x="4475" y="276"/>
                  </a:lnTo>
                  <a:close/>
                  <a:moveTo>
                    <a:pt x="1912" y="3114"/>
                  </a:moveTo>
                  <a:lnTo>
                    <a:pt x="94" y="2156"/>
                  </a:lnTo>
                  <a:lnTo>
                    <a:pt x="94" y="2008"/>
                  </a:lnTo>
                  <a:lnTo>
                    <a:pt x="1912" y="2966"/>
                  </a:lnTo>
                  <a:lnTo>
                    <a:pt x="1912" y="3114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200">
                <a:solidFill>
                  <a:schemeClr val="bg2">
                    <a:lumMod val="75000"/>
                  </a:schemeClr>
                </a:solidFill>
                <a:latin typeface="+mn-lt"/>
              </a:endParaRPr>
            </a:p>
          </p:txBody>
        </p:sp>
        <p:cxnSp>
          <p:nvCxnSpPr>
            <p:cNvPr id="67" name="Прямая со стрелкой 66"/>
            <p:cNvCxnSpPr/>
            <p:nvPr/>
          </p:nvCxnSpPr>
          <p:spPr>
            <a:xfrm>
              <a:off x="3154712" y="2914344"/>
              <a:ext cx="2431241" cy="2016387"/>
            </a:xfrm>
            <a:prstGeom prst="bentConnector3">
              <a:avLst>
                <a:gd name="adj1" fmla="val -26"/>
              </a:avLst>
            </a:prstGeom>
            <a:ln w="25400">
              <a:solidFill>
                <a:srgbClr val="00B0F0"/>
              </a:solidFill>
              <a:headEnd type="triangle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7"/>
            <p:cNvSpPr txBox="1">
              <a:spLocks noChangeArrowheads="1"/>
            </p:cNvSpPr>
            <p:nvPr/>
          </p:nvSpPr>
          <p:spPr bwMode="auto">
            <a:xfrm>
              <a:off x="3433291" y="5046649"/>
              <a:ext cx="2198216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b="1" dirty="0">
                  <a:solidFill>
                    <a:srgbClr val="00B0F0"/>
                  </a:solidFill>
                  <a:cs typeface="Arial" panose="020B0604020202020204" pitchFamily="34" charset="0"/>
                </a:rPr>
                <a:t>Остаток минус комиссии</a:t>
              </a:r>
            </a:p>
          </p:txBody>
        </p:sp>
        <p:sp>
          <p:nvSpPr>
            <p:cNvPr id="8" name="Овал 7"/>
            <p:cNvSpPr/>
            <p:nvPr/>
          </p:nvSpPr>
          <p:spPr>
            <a:xfrm>
              <a:off x="5280514" y="1662520"/>
              <a:ext cx="326305" cy="326305"/>
            </a:xfrm>
            <a:prstGeom prst="ellipse">
              <a:avLst/>
            </a:prstGeom>
            <a:solidFill>
              <a:srgbClr val="14AA96"/>
            </a:solidFill>
            <a:ln>
              <a:solidFill>
                <a:srgbClr val="14AA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71" name="Овал 70"/>
            <p:cNvSpPr/>
            <p:nvPr/>
          </p:nvSpPr>
          <p:spPr>
            <a:xfrm>
              <a:off x="3530052" y="2976176"/>
              <a:ext cx="326305" cy="326305"/>
            </a:xfrm>
            <a:prstGeom prst="ellipse">
              <a:avLst/>
            </a:prstGeom>
            <a:solidFill>
              <a:srgbClr val="F6BB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73" name="Овал 72"/>
            <p:cNvSpPr/>
            <p:nvPr/>
          </p:nvSpPr>
          <p:spPr>
            <a:xfrm>
              <a:off x="8176018" y="4488005"/>
              <a:ext cx="326305" cy="326305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74" name="Freeform 30"/>
            <p:cNvSpPr>
              <a:spLocks noChangeAspect="1" noEditPoints="1"/>
            </p:cNvSpPr>
            <p:nvPr/>
          </p:nvSpPr>
          <p:spPr bwMode="auto">
            <a:xfrm>
              <a:off x="2857227" y="5004722"/>
              <a:ext cx="476414" cy="358564"/>
            </a:xfrm>
            <a:custGeom>
              <a:avLst/>
              <a:gdLst>
                <a:gd name="T0" fmla="*/ 2147483647 w 6336"/>
                <a:gd name="T1" fmla="*/ 2147483647 h 4763"/>
                <a:gd name="T2" fmla="*/ 2147483647 w 6336"/>
                <a:gd name="T3" fmla="*/ 2147483647 h 4763"/>
                <a:gd name="T4" fmla="*/ 2147483647 w 6336"/>
                <a:gd name="T5" fmla="*/ 2147483647 h 4763"/>
                <a:gd name="T6" fmla="*/ 2147483647 w 6336"/>
                <a:gd name="T7" fmla="*/ 2147483647 h 4763"/>
                <a:gd name="T8" fmla="*/ 2147483647 w 6336"/>
                <a:gd name="T9" fmla="*/ 2147483647 h 4763"/>
                <a:gd name="T10" fmla="*/ 2147483647 w 6336"/>
                <a:gd name="T11" fmla="*/ 2147483647 h 4763"/>
                <a:gd name="T12" fmla="*/ 2147483647 w 6336"/>
                <a:gd name="T13" fmla="*/ 2147483647 h 4763"/>
                <a:gd name="T14" fmla="*/ 2147483647 w 6336"/>
                <a:gd name="T15" fmla="*/ 2147483647 h 4763"/>
                <a:gd name="T16" fmla="*/ 2147483647 w 6336"/>
                <a:gd name="T17" fmla="*/ 2147483647 h 4763"/>
                <a:gd name="T18" fmla="*/ 2147483647 w 6336"/>
                <a:gd name="T19" fmla="*/ 2147483647 h 4763"/>
                <a:gd name="T20" fmla="*/ 2147483647 w 6336"/>
                <a:gd name="T21" fmla="*/ 2147483647 h 4763"/>
                <a:gd name="T22" fmla="*/ 2147483647 w 6336"/>
                <a:gd name="T23" fmla="*/ 2147483647 h 4763"/>
                <a:gd name="T24" fmla="*/ 2147483647 w 6336"/>
                <a:gd name="T25" fmla="*/ 2147483647 h 4763"/>
                <a:gd name="T26" fmla="*/ 2147483647 w 6336"/>
                <a:gd name="T27" fmla="*/ 2147483647 h 4763"/>
                <a:gd name="T28" fmla="*/ 2147483647 w 6336"/>
                <a:gd name="T29" fmla="*/ 2147483647 h 4763"/>
                <a:gd name="T30" fmla="*/ 2147483647 w 6336"/>
                <a:gd name="T31" fmla="*/ 2147483647 h 4763"/>
                <a:gd name="T32" fmla="*/ 2147483647 w 6336"/>
                <a:gd name="T33" fmla="*/ 2147483647 h 4763"/>
                <a:gd name="T34" fmla="*/ 2147483647 w 6336"/>
                <a:gd name="T35" fmla="*/ 2147483647 h 4763"/>
                <a:gd name="T36" fmla="*/ 2147483647 w 6336"/>
                <a:gd name="T37" fmla="*/ 2147483647 h 4763"/>
                <a:gd name="T38" fmla="*/ 2147483647 w 6336"/>
                <a:gd name="T39" fmla="*/ 2147483647 h 4763"/>
                <a:gd name="T40" fmla="*/ 2147483647 w 6336"/>
                <a:gd name="T41" fmla="*/ 2147483647 h 4763"/>
                <a:gd name="T42" fmla="*/ 2147483647 w 6336"/>
                <a:gd name="T43" fmla="*/ 2147483647 h 4763"/>
                <a:gd name="T44" fmla="*/ 2147483647 w 6336"/>
                <a:gd name="T45" fmla="*/ 2147483647 h 4763"/>
                <a:gd name="T46" fmla="*/ 2147483647 w 6336"/>
                <a:gd name="T47" fmla="*/ 2147483647 h 4763"/>
                <a:gd name="T48" fmla="*/ 2147483647 w 6336"/>
                <a:gd name="T49" fmla="*/ 2147483647 h 4763"/>
                <a:gd name="T50" fmla="*/ 2147483647 w 6336"/>
                <a:gd name="T51" fmla="*/ 2147483647 h 4763"/>
                <a:gd name="T52" fmla="*/ 2147483647 w 6336"/>
                <a:gd name="T53" fmla="*/ 2147483647 h 4763"/>
                <a:gd name="T54" fmla="*/ 2147483647 w 6336"/>
                <a:gd name="T55" fmla="*/ 2147483647 h 4763"/>
                <a:gd name="T56" fmla="*/ 2147483647 w 6336"/>
                <a:gd name="T57" fmla="*/ 2147483647 h 4763"/>
                <a:gd name="T58" fmla="*/ 2147483647 w 6336"/>
                <a:gd name="T59" fmla="*/ 2147483647 h 4763"/>
                <a:gd name="T60" fmla="*/ 2147483647 w 6336"/>
                <a:gd name="T61" fmla="*/ 2147483647 h 4763"/>
                <a:gd name="T62" fmla="*/ 2147483647 w 6336"/>
                <a:gd name="T63" fmla="*/ 2147483647 h 4763"/>
                <a:gd name="T64" fmla="*/ 2147483647 w 6336"/>
                <a:gd name="T65" fmla="*/ 2147483647 h 4763"/>
                <a:gd name="T66" fmla="*/ 2147483647 w 6336"/>
                <a:gd name="T67" fmla="*/ 2147483647 h 4763"/>
                <a:gd name="T68" fmla="*/ 2147483647 w 6336"/>
                <a:gd name="T69" fmla="*/ 2147483647 h 4763"/>
                <a:gd name="T70" fmla="*/ 2147483647 w 6336"/>
                <a:gd name="T71" fmla="*/ 2147483647 h 4763"/>
                <a:gd name="T72" fmla="*/ 2147483647 w 6336"/>
                <a:gd name="T73" fmla="*/ 2147483647 h 4763"/>
                <a:gd name="T74" fmla="*/ 2147483647 w 6336"/>
                <a:gd name="T75" fmla="*/ 2147483647 h 4763"/>
                <a:gd name="T76" fmla="*/ 2147483647 w 6336"/>
                <a:gd name="T77" fmla="*/ 2147483647 h 4763"/>
                <a:gd name="T78" fmla="*/ 2147483647 w 6336"/>
                <a:gd name="T79" fmla="*/ 2147483647 h 4763"/>
                <a:gd name="T80" fmla="*/ 2147483647 w 6336"/>
                <a:gd name="T81" fmla="*/ 2147483647 h 4763"/>
                <a:gd name="T82" fmla="*/ 2147483647 w 6336"/>
                <a:gd name="T83" fmla="*/ 2147483647 h 4763"/>
                <a:gd name="T84" fmla="*/ 2147483647 w 6336"/>
                <a:gd name="T85" fmla="*/ 2147483647 h 4763"/>
                <a:gd name="T86" fmla="*/ 0 w 6336"/>
                <a:gd name="T87" fmla="*/ 2147483647 h 4763"/>
                <a:gd name="T88" fmla="*/ 2147483647 w 6336"/>
                <a:gd name="T89" fmla="*/ 2147483647 h 4763"/>
                <a:gd name="T90" fmla="*/ 0 w 6336"/>
                <a:gd name="T91" fmla="*/ 2147483647 h 4763"/>
                <a:gd name="T92" fmla="*/ 2147483647 w 6336"/>
                <a:gd name="T93" fmla="*/ 2147483647 h 4763"/>
                <a:gd name="T94" fmla="*/ 2147483647 w 6336"/>
                <a:gd name="T95" fmla="*/ 2147483647 h 4763"/>
                <a:gd name="T96" fmla="*/ 2147483647 w 6336"/>
                <a:gd name="T97" fmla="*/ 2147483647 h 4763"/>
                <a:gd name="T98" fmla="*/ 2147483647 w 6336"/>
                <a:gd name="T99" fmla="*/ 2147483647 h 4763"/>
                <a:gd name="T100" fmla="*/ 2147483647 w 6336"/>
                <a:gd name="T101" fmla="*/ 2147483647 h 4763"/>
                <a:gd name="T102" fmla="*/ 2147483647 w 6336"/>
                <a:gd name="T103" fmla="*/ 2147483647 h 4763"/>
                <a:gd name="T104" fmla="*/ 2147483647 w 6336"/>
                <a:gd name="T105" fmla="*/ 2147483647 h 4763"/>
                <a:gd name="T106" fmla="*/ 2147483647 w 6336"/>
                <a:gd name="T107" fmla="*/ 2147483647 h 4763"/>
                <a:gd name="T108" fmla="*/ 2147483647 w 6336"/>
                <a:gd name="T109" fmla="*/ 2147483647 h 4763"/>
                <a:gd name="T110" fmla="*/ 2147483647 w 6336"/>
                <a:gd name="T111" fmla="*/ 2147483647 h 4763"/>
                <a:gd name="T112" fmla="*/ 2147483647 w 6336"/>
                <a:gd name="T113" fmla="*/ 2147483647 h 4763"/>
                <a:gd name="T114" fmla="*/ 2147483647 w 6336"/>
                <a:gd name="T115" fmla="*/ 2147483647 h 4763"/>
                <a:gd name="T116" fmla="*/ 2147483647 w 6336"/>
                <a:gd name="T117" fmla="*/ 2147483647 h 4763"/>
                <a:gd name="T118" fmla="*/ 2147483647 w 6336"/>
                <a:gd name="T119" fmla="*/ 2147483647 h 47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36"/>
                <a:gd name="T181" fmla="*/ 0 h 4763"/>
                <a:gd name="T182" fmla="*/ 6336 w 6336"/>
                <a:gd name="T183" fmla="*/ 4763 h 47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36" h="4763">
                  <a:moveTo>
                    <a:pt x="1772" y="3695"/>
                  </a:moveTo>
                  <a:lnTo>
                    <a:pt x="109" y="2820"/>
                  </a:lnTo>
                  <a:lnTo>
                    <a:pt x="109" y="2672"/>
                  </a:lnTo>
                  <a:lnTo>
                    <a:pt x="1772" y="3547"/>
                  </a:lnTo>
                  <a:lnTo>
                    <a:pt x="1772" y="3695"/>
                  </a:lnTo>
                  <a:close/>
                  <a:moveTo>
                    <a:pt x="3814" y="1925"/>
                  </a:moveTo>
                  <a:lnTo>
                    <a:pt x="4488" y="1668"/>
                  </a:lnTo>
                  <a:lnTo>
                    <a:pt x="2515" y="608"/>
                  </a:lnTo>
                  <a:lnTo>
                    <a:pt x="1795" y="857"/>
                  </a:lnTo>
                  <a:lnTo>
                    <a:pt x="3814" y="1925"/>
                  </a:lnTo>
                  <a:close/>
                  <a:moveTo>
                    <a:pt x="4541" y="1785"/>
                  </a:moveTo>
                  <a:lnTo>
                    <a:pt x="3830" y="2056"/>
                  </a:lnTo>
                  <a:lnTo>
                    <a:pt x="3830" y="4109"/>
                  </a:lnTo>
                  <a:lnTo>
                    <a:pt x="4501" y="3874"/>
                  </a:lnTo>
                  <a:lnTo>
                    <a:pt x="4541" y="1785"/>
                  </a:lnTo>
                  <a:close/>
                  <a:moveTo>
                    <a:pt x="2218" y="1229"/>
                  </a:moveTo>
                  <a:lnTo>
                    <a:pt x="2218" y="1229"/>
                  </a:lnTo>
                  <a:lnTo>
                    <a:pt x="2183" y="1250"/>
                  </a:lnTo>
                  <a:lnTo>
                    <a:pt x="2148" y="1271"/>
                  </a:lnTo>
                  <a:lnTo>
                    <a:pt x="2116" y="1291"/>
                  </a:lnTo>
                  <a:lnTo>
                    <a:pt x="2084" y="1312"/>
                  </a:lnTo>
                  <a:lnTo>
                    <a:pt x="2056" y="1333"/>
                  </a:lnTo>
                  <a:lnTo>
                    <a:pt x="2030" y="1354"/>
                  </a:lnTo>
                  <a:lnTo>
                    <a:pt x="2005" y="1374"/>
                  </a:lnTo>
                  <a:lnTo>
                    <a:pt x="1982" y="1395"/>
                  </a:lnTo>
                  <a:lnTo>
                    <a:pt x="1961" y="1416"/>
                  </a:lnTo>
                  <a:lnTo>
                    <a:pt x="1944" y="1435"/>
                  </a:lnTo>
                  <a:lnTo>
                    <a:pt x="1928" y="1456"/>
                  </a:lnTo>
                  <a:lnTo>
                    <a:pt x="1914" y="1476"/>
                  </a:lnTo>
                  <a:lnTo>
                    <a:pt x="1904" y="1496"/>
                  </a:lnTo>
                  <a:lnTo>
                    <a:pt x="1894" y="1515"/>
                  </a:lnTo>
                  <a:lnTo>
                    <a:pt x="1888" y="1536"/>
                  </a:lnTo>
                  <a:lnTo>
                    <a:pt x="1885" y="1553"/>
                  </a:lnTo>
                  <a:lnTo>
                    <a:pt x="1885" y="1569"/>
                  </a:lnTo>
                  <a:lnTo>
                    <a:pt x="1886" y="1587"/>
                  </a:lnTo>
                  <a:lnTo>
                    <a:pt x="1890" y="1603"/>
                  </a:lnTo>
                  <a:lnTo>
                    <a:pt x="1898" y="1619"/>
                  </a:lnTo>
                  <a:lnTo>
                    <a:pt x="1907" y="1634"/>
                  </a:lnTo>
                  <a:lnTo>
                    <a:pt x="1920" y="1650"/>
                  </a:lnTo>
                  <a:lnTo>
                    <a:pt x="1936" y="1666"/>
                  </a:lnTo>
                  <a:lnTo>
                    <a:pt x="1955" y="1681"/>
                  </a:lnTo>
                  <a:lnTo>
                    <a:pt x="1976" y="1695"/>
                  </a:lnTo>
                  <a:lnTo>
                    <a:pt x="2001" y="1710"/>
                  </a:lnTo>
                  <a:lnTo>
                    <a:pt x="2032" y="1724"/>
                  </a:lnTo>
                  <a:lnTo>
                    <a:pt x="2064" y="1737"/>
                  </a:lnTo>
                  <a:lnTo>
                    <a:pt x="2100" y="1748"/>
                  </a:lnTo>
                  <a:lnTo>
                    <a:pt x="2140" y="1759"/>
                  </a:lnTo>
                  <a:lnTo>
                    <a:pt x="2185" y="1769"/>
                  </a:lnTo>
                  <a:lnTo>
                    <a:pt x="2234" y="1778"/>
                  </a:lnTo>
                  <a:lnTo>
                    <a:pt x="2282" y="1785"/>
                  </a:lnTo>
                  <a:lnTo>
                    <a:pt x="2333" y="1791"/>
                  </a:lnTo>
                  <a:lnTo>
                    <a:pt x="2386" y="1796"/>
                  </a:lnTo>
                  <a:lnTo>
                    <a:pt x="2440" y="1797"/>
                  </a:lnTo>
                  <a:lnTo>
                    <a:pt x="2496" y="1799"/>
                  </a:lnTo>
                  <a:lnTo>
                    <a:pt x="2554" y="1799"/>
                  </a:lnTo>
                  <a:lnTo>
                    <a:pt x="2611" y="1799"/>
                  </a:lnTo>
                  <a:lnTo>
                    <a:pt x="2670" y="1796"/>
                  </a:lnTo>
                  <a:lnTo>
                    <a:pt x="2731" y="1791"/>
                  </a:lnTo>
                  <a:lnTo>
                    <a:pt x="2791" y="1786"/>
                  </a:lnTo>
                  <a:lnTo>
                    <a:pt x="2854" y="1780"/>
                  </a:lnTo>
                  <a:lnTo>
                    <a:pt x="2914" y="1772"/>
                  </a:lnTo>
                  <a:lnTo>
                    <a:pt x="2976" y="1764"/>
                  </a:lnTo>
                  <a:lnTo>
                    <a:pt x="3040" y="1754"/>
                  </a:lnTo>
                  <a:lnTo>
                    <a:pt x="3103" y="1743"/>
                  </a:lnTo>
                  <a:lnTo>
                    <a:pt x="3165" y="1730"/>
                  </a:lnTo>
                  <a:lnTo>
                    <a:pt x="2218" y="1229"/>
                  </a:lnTo>
                  <a:close/>
                  <a:moveTo>
                    <a:pt x="4258" y="1084"/>
                  </a:moveTo>
                  <a:lnTo>
                    <a:pt x="4258" y="1084"/>
                  </a:lnTo>
                  <a:lnTo>
                    <a:pt x="4252" y="1073"/>
                  </a:lnTo>
                  <a:lnTo>
                    <a:pt x="4244" y="1060"/>
                  </a:lnTo>
                  <a:lnTo>
                    <a:pt x="4234" y="1049"/>
                  </a:lnTo>
                  <a:lnTo>
                    <a:pt x="4223" y="1038"/>
                  </a:lnTo>
                  <a:lnTo>
                    <a:pt x="4210" y="1026"/>
                  </a:lnTo>
                  <a:lnTo>
                    <a:pt x="4196" y="1015"/>
                  </a:lnTo>
                  <a:lnTo>
                    <a:pt x="4180" y="1004"/>
                  </a:lnTo>
                  <a:lnTo>
                    <a:pt x="4162" y="994"/>
                  </a:lnTo>
                  <a:lnTo>
                    <a:pt x="4143" y="985"/>
                  </a:lnTo>
                  <a:lnTo>
                    <a:pt x="4122" y="975"/>
                  </a:lnTo>
                  <a:lnTo>
                    <a:pt x="4078" y="958"/>
                  </a:lnTo>
                  <a:lnTo>
                    <a:pt x="4027" y="942"/>
                  </a:lnTo>
                  <a:lnTo>
                    <a:pt x="3969" y="929"/>
                  </a:lnTo>
                  <a:lnTo>
                    <a:pt x="3907" y="918"/>
                  </a:lnTo>
                  <a:lnTo>
                    <a:pt x="3841" y="908"/>
                  </a:lnTo>
                  <a:lnTo>
                    <a:pt x="3770" y="900"/>
                  </a:lnTo>
                  <a:lnTo>
                    <a:pt x="3693" y="897"/>
                  </a:lnTo>
                  <a:lnTo>
                    <a:pt x="3613" y="895"/>
                  </a:lnTo>
                  <a:lnTo>
                    <a:pt x="3529" y="895"/>
                  </a:lnTo>
                  <a:lnTo>
                    <a:pt x="3441" y="900"/>
                  </a:lnTo>
                  <a:lnTo>
                    <a:pt x="3348" y="908"/>
                  </a:lnTo>
                  <a:lnTo>
                    <a:pt x="4132" y="1328"/>
                  </a:lnTo>
                  <a:lnTo>
                    <a:pt x="4154" y="1309"/>
                  </a:lnTo>
                  <a:lnTo>
                    <a:pt x="4173" y="1290"/>
                  </a:lnTo>
                  <a:lnTo>
                    <a:pt x="4191" y="1272"/>
                  </a:lnTo>
                  <a:lnTo>
                    <a:pt x="4207" y="1253"/>
                  </a:lnTo>
                  <a:lnTo>
                    <a:pt x="4220" y="1235"/>
                  </a:lnTo>
                  <a:lnTo>
                    <a:pt x="4233" y="1219"/>
                  </a:lnTo>
                  <a:lnTo>
                    <a:pt x="4242" y="1204"/>
                  </a:lnTo>
                  <a:lnTo>
                    <a:pt x="4250" y="1188"/>
                  </a:lnTo>
                  <a:lnTo>
                    <a:pt x="4256" y="1172"/>
                  </a:lnTo>
                  <a:lnTo>
                    <a:pt x="4261" y="1157"/>
                  </a:lnTo>
                  <a:lnTo>
                    <a:pt x="4263" y="1144"/>
                  </a:lnTo>
                  <a:lnTo>
                    <a:pt x="4264" y="1130"/>
                  </a:lnTo>
                  <a:lnTo>
                    <a:pt x="4266" y="1117"/>
                  </a:lnTo>
                  <a:lnTo>
                    <a:pt x="4264" y="1106"/>
                  </a:lnTo>
                  <a:lnTo>
                    <a:pt x="4261" y="1095"/>
                  </a:lnTo>
                  <a:lnTo>
                    <a:pt x="4258" y="1084"/>
                  </a:lnTo>
                  <a:close/>
                  <a:moveTo>
                    <a:pt x="1997" y="1111"/>
                  </a:moveTo>
                  <a:lnTo>
                    <a:pt x="383" y="1655"/>
                  </a:lnTo>
                  <a:lnTo>
                    <a:pt x="1933" y="2482"/>
                  </a:lnTo>
                  <a:lnTo>
                    <a:pt x="3516" y="1915"/>
                  </a:lnTo>
                  <a:lnTo>
                    <a:pt x="3342" y="1824"/>
                  </a:lnTo>
                  <a:lnTo>
                    <a:pt x="3269" y="1842"/>
                  </a:lnTo>
                  <a:lnTo>
                    <a:pt x="3194" y="1858"/>
                  </a:lnTo>
                  <a:lnTo>
                    <a:pt x="3119" y="1872"/>
                  </a:lnTo>
                  <a:lnTo>
                    <a:pt x="3044" y="1885"/>
                  </a:lnTo>
                  <a:lnTo>
                    <a:pt x="2969" y="1898"/>
                  </a:lnTo>
                  <a:lnTo>
                    <a:pt x="2893" y="1907"/>
                  </a:lnTo>
                  <a:lnTo>
                    <a:pt x="2820" y="1915"/>
                  </a:lnTo>
                  <a:lnTo>
                    <a:pt x="2747" y="1922"/>
                  </a:lnTo>
                  <a:lnTo>
                    <a:pt x="2675" y="1927"/>
                  </a:lnTo>
                  <a:lnTo>
                    <a:pt x="2603" y="1930"/>
                  </a:lnTo>
                  <a:lnTo>
                    <a:pt x="2534" y="1931"/>
                  </a:lnTo>
                  <a:lnTo>
                    <a:pt x="2466" y="1930"/>
                  </a:lnTo>
                  <a:lnTo>
                    <a:pt x="2399" y="1927"/>
                  </a:lnTo>
                  <a:lnTo>
                    <a:pt x="2335" y="1923"/>
                  </a:lnTo>
                  <a:lnTo>
                    <a:pt x="2273" y="1915"/>
                  </a:lnTo>
                  <a:lnTo>
                    <a:pt x="2212" y="1907"/>
                  </a:lnTo>
                  <a:lnTo>
                    <a:pt x="2166" y="1899"/>
                  </a:lnTo>
                  <a:lnTo>
                    <a:pt x="2118" y="1888"/>
                  </a:lnTo>
                  <a:lnTo>
                    <a:pt x="2073" y="1877"/>
                  </a:lnTo>
                  <a:lnTo>
                    <a:pt x="2030" y="1863"/>
                  </a:lnTo>
                  <a:lnTo>
                    <a:pt x="1989" y="1847"/>
                  </a:lnTo>
                  <a:lnTo>
                    <a:pt x="1949" y="1829"/>
                  </a:lnTo>
                  <a:lnTo>
                    <a:pt x="1912" y="1810"/>
                  </a:lnTo>
                  <a:lnTo>
                    <a:pt x="1878" y="1788"/>
                  </a:lnTo>
                  <a:lnTo>
                    <a:pt x="1848" y="1764"/>
                  </a:lnTo>
                  <a:lnTo>
                    <a:pt x="1834" y="1753"/>
                  </a:lnTo>
                  <a:lnTo>
                    <a:pt x="1821" y="1738"/>
                  </a:lnTo>
                  <a:lnTo>
                    <a:pt x="1808" y="1725"/>
                  </a:lnTo>
                  <a:lnTo>
                    <a:pt x="1799" y="1711"/>
                  </a:lnTo>
                  <a:lnTo>
                    <a:pt x="1787" y="1697"/>
                  </a:lnTo>
                  <a:lnTo>
                    <a:pt x="1780" y="1681"/>
                  </a:lnTo>
                  <a:lnTo>
                    <a:pt x="1772" y="1665"/>
                  </a:lnTo>
                  <a:lnTo>
                    <a:pt x="1765" y="1649"/>
                  </a:lnTo>
                  <a:lnTo>
                    <a:pt x="1760" y="1631"/>
                  </a:lnTo>
                  <a:lnTo>
                    <a:pt x="1757" y="1614"/>
                  </a:lnTo>
                  <a:lnTo>
                    <a:pt x="1754" y="1596"/>
                  </a:lnTo>
                  <a:lnTo>
                    <a:pt x="1752" y="1577"/>
                  </a:lnTo>
                  <a:lnTo>
                    <a:pt x="1752" y="1558"/>
                  </a:lnTo>
                  <a:lnTo>
                    <a:pt x="1754" y="1539"/>
                  </a:lnTo>
                  <a:lnTo>
                    <a:pt x="1759" y="1512"/>
                  </a:lnTo>
                  <a:lnTo>
                    <a:pt x="1765" y="1486"/>
                  </a:lnTo>
                  <a:lnTo>
                    <a:pt x="1775" y="1461"/>
                  </a:lnTo>
                  <a:lnTo>
                    <a:pt x="1786" y="1435"/>
                  </a:lnTo>
                  <a:lnTo>
                    <a:pt x="1800" y="1411"/>
                  </a:lnTo>
                  <a:lnTo>
                    <a:pt x="1816" y="1385"/>
                  </a:lnTo>
                  <a:lnTo>
                    <a:pt x="1834" y="1362"/>
                  </a:lnTo>
                  <a:lnTo>
                    <a:pt x="1855" y="1338"/>
                  </a:lnTo>
                  <a:lnTo>
                    <a:pt x="1875" y="1314"/>
                  </a:lnTo>
                  <a:lnTo>
                    <a:pt x="1899" y="1290"/>
                  </a:lnTo>
                  <a:lnTo>
                    <a:pt x="1926" y="1266"/>
                  </a:lnTo>
                  <a:lnTo>
                    <a:pt x="1953" y="1243"/>
                  </a:lnTo>
                  <a:lnTo>
                    <a:pt x="1982" y="1221"/>
                  </a:lnTo>
                  <a:lnTo>
                    <a:pt x="2013" y="1199"/>
                  </a:lnTo>
                  <a:lnTo>
                    <a:pt x="2046" y="1176"/>
                  </a:lnTo>
                  <a:lnTo>
                    <a:pt x="2080" y="1156"/>
                  </a:lnTo>
                  <a:lnTo>
                    <a:pt x="1997" y="1111"/>
                  </a:lnTo>
                  <a:close/>
                  <a:moveTo>
                    <a:pt x="2753" y="587"/>
                  </a:moveTo>
                  <a:lnTo>
                    <a:pt x="4496" y="0"/>
                  </a:lnTo>
                  <a:lnTo>
                    <a:pt x="6307" y="926"/>
                  </a:lnTo>
                  <a:lnTo>
                    <a:pt x="6307" y="1188"/>
                  </a:lnTo>
                  <a:lnTo>
                    <a:pt x="4671" y="1773"/>
                  </a:lnTo>
                  <a:lnTo>
                    <a:pt x="4667" y="2011"/>
                  </a:lnTo>
                  <a:lnTo>
                    <a:pt x="6221" y="1456"/>
                  </a:lnTo>
                  <a:lnTo>
                    <a:pt x="6221" y="1596"/>
                  </a:lnTo>
                  <a:lnTo>
                    <a:pt x="4665" y="2150"/>
                  </a:lnTo>
                  <a:lnTo>
                    <a:pt x="4662" y="2340"/>
                  </a:lnTo>
                  <a:lnTo>
                    <a:pt x="6336" y="1743"/>
                  </a:lnTo>
                  <a:lnTo>
                    <a:pt x="6336" y="1882"/>
                  </a:lnTo>
                  <a:lnTo>
                    <a:pt x="4659" y="2480"/>
                  </a:lnTo>
                  <a:lnTo>
                    <a:pt x="4655" y="2670"/>
                  </a:lnTo>
                  <a:lnTo>
                    <a:pt x="6218" y="2113"/>
                  </a:lnTo>
                  <a:lnTo>
                    <a:pt x="6218" y="2252"/>
                  </a:lnTo>
                  <a:lnTo>
                    <a:pt x="4652" y="2811"/>
                  </a:lnTo>
                  <a:lnTo>
                    <a:pt x="4649" y="2999"/>
                  </a:lnTo>
                  <a:lnTo>
                    <a:pt x="6336" y="2397"/>
                  </a:lnTo>
                  <a:lnTo>
                    <a:pt x="6336" y="2538"/>
                  </a:lnTo>
                  <a:lnTo>
                    <a:pt x="4646" y="3140"/>
                  </a:lnTo>
                  <a:lnTo>
                    <a:pt x="4643" y="3330"/>
                  </a:lnTo>
                  <a:lnTo>
                    <a:pt x="6223" y="2766"/>
                  </a:lnTo>
                  <a:lnTo>
                    <a:pt x="6223" y="2905"/>
                  </a:lnTo>
                  <a:lnTo>
                    <a:pt x="4639" y="3470"/>
                  </a:lnTo>
                  <a:lnTo>
                    <a:pt x="4636" y="3658"/>
                  </a:lnTo>
                  <a:lnTo>
                    <a:pt x="6336" y="3053"/>
                  </a:lnTo>
                  <a:lnTo>
                    <a:pt x="6336" y="3192"/>
                  </a:lnTo>
                  <a:lnTo>
                    <a:pt x="4633" y="3799"/>
                  </a:lnTo>
                  <a:lnTo>
                    <a:pt x="4630" y="3968"/>
                  </a:lnTo>
                  <a:lnTo>
                    <a:pt x="3699" y="4294"/>
                  </a:lnTo>
                  <a:lnTo>
                    <a:pt x="3699" y="4133"/>
                  </a:lnTo>
                  <a:lnTo>
                    <a:pt x="1933" y="4763"/>
                  </a:lnTo>
                  <a:lnTo>
                    <a:pt x="0" y="3745"/>
                  </a:lnTo>
                  <a:lnTo>
                    <a:pt x="0" y="3596"/>
                  </a:lnTo>
                  <a:lnTo>
                    <a:pt x="1944" y="4619"/>
                  </a:lnTo>
                  <a:lnTo>
                    <a:pt x="3699" y="3994"/>
                  </a:lnTo>
                  <a:lnTo>
                    <a:pt x="3699" y="3805"/>
                  </a:lnTo>
                  <a:lnTo>
                    <a:pt x="1933" y="4436"/>
                  </a:lnTo>
                  <a:lnTo>
                    <a:pt x="109" y="3475"/>
                  </a:lnTo>
                  <a:lnTo>
                    <a:pt x="109" y="3326"/>
                  </a:lnTo>
                  <a:lnTo>
                    <a:pt x="1944" y="4292"/>
                  </a:lnTo>
                  <a:lnTo>
                    <a:pt x="3699" y="3666"/>
                  </a:lnTo>
                  <a:lnTo>
                    <a:pt x="3699" y="3478"/>
                  </a:lnTo>
                  <a:lnTo>
                    <a:pt x="1933" y="4107"/>
                  </a:lnTo>
                  <a:lnTo>
                    <a:pt x="0" y="3090"/>
                  </a:lnTo>
                  <a:lnTo>
                    <a:pt x="0" y="2942"/>
                  </a:lnTo>
                  <a:lnTo>
                    <a:pt x="1944" y="3965"/>
                  </a:lnTo>
                  <a:lnTo>
                    <a:pt x="3699" y="3338"/>
                  </a:lnTo>
                  <a:lnTo>
                    <a:pt x="3699" y="3149"/>
                  </a:lnTo>
                  <a:lnTo>
                    <a:pt x="1947" y="3775"/>
                  </a:lnTo>
                  <a:lnTo>
                    <a:pt x="1947" y="3636"/>
                  </a:lnTo>
                  <a:lnTo>
                    <a:pt x="3699" y="3010"/>
                  </a:lnTo>
                  <a:lnTo>
                    <a:pt x="3699" y="2822"/>
                  </a:lnTo>
                  <a:lnTo>
                    <a:pt x="1933" y="3453"/>
                  </a:lnTo>
                  <a:lnTo>
                    <a:pt x="0" y="2434"/>
                  </a:lnTo>
                  <a:lnTo>
                    <a:pt x="0" y="2286"/>
                  </a:lnTo>
                  <a:lnTo>
                    <a:pt x="1944" y="3309"/>
                  </a:lnTo>
                  <a:lnTo>
                    <a:pt x="3699" y="2683"/>
                  </a:lnTo>
                  <a:lnTo>
                    <a:pt x="3699" y="2495"/>
                  </a:lnTo>
                  <a:lnTo>
                    <a:pt x="2089" y="3069"/>
                  </a:lnTo>
                  <a:lnTo>
                    <a:pt x="2089" y="2931"/>
                  </a:lnTo>
                  <a:lnTo>
                    <a:pt x="3699" y="2356"/>
                  </a:lnTo>
                  <a:lnTo>
                    <a:pt x="3699" y="2121"/>
                  </a:lnTo>
                  <a:lnTo>
                    <a:pt x="1914" y="2760"/>
                  </a:lnTo>
                  <a:lnTo>
                    <a:pt x="26" y="1754"/>
                  </a:lnTo>
                  <a:lnTo>
                    <a:pt x="26" y="1507"/>
                  </a:lnTo>
                  <a:lnTo>
                    <a:pt x="1465" y="1022"/>
                  </a:lnTo>
                  <a:lnTo>
                    <a:pt x="1465" y="832"/>
                  </a:lnTo>
                  <a:lnTo>
                    <a:pt x="1468" y="832"/>
                  </a:lnTo>
                  <a:lnTo>
                    <a:pt x="2526" y="466"/>
                  </a:lnTo>
                  <a:lnTo>
                    <a:pt x="2753" y="587"/>
                  </a:lnTo>
                  <a:close/>
                  <a:moveTo>
                    <a:pt x="4475" y="276"/>
                  </a:moveTo>
                  <a:lnTo>
                    <a:pt x="3061" y="753"/>
                  </a:lnTo>
                  <a:lnTo>
                    <a:pt x="3154" y="803"/>
                  </a:lnTo>
                  <a:lnTo>
                    <a:pt x="3259" y="789"/>
                  </a:lnTo>
                  <a:lnTo>
                    <a:pt x="3364" y="777"/>
                  </a:lnTo>
                  <a:lnTo>
                    <a:pt x="3466" y="769"/>
                  </a:lnTo>
                  <a:lnTo>
                    <a:pt x="3567" y="765"/>
                  </a:lnTo>
                  <a:lnTo>
                    <a:pt x="3666" y="765"/>
                  </a:lnTo>
                  <a:lnTo>
                    <a:pt x="3712" y="765"/>
                  </a:lnTo>
                  <a:lnTo>
                    <a:pt x="3760" y="768"/>
                  </a:lnTo>
                  <a:lnTo>
                    <a:pt x="3805" y="771"/>
                  </a:lnTo>
                  <a:lnTo>
                    <a:pt x="3849" y="774"/>
                  </a:lnTo>
                  <a:lnTo>
                    <a:pt x="3894" y="779"/>
                  </a:lnTo>
                  <a:lnTo>
                    <a:pt x="3936" y="785"/>
                  </a:lnTo>
                  <a:lnTo>
                    <a:pt x="3977" y="792"/>
                  </a:lnTo>
                  <a:lnTo>
                    <a:pt x="4015" y="801"/>
                  </a:lnTo>
                  <a:lnTo>
                    <a:pt x="4054" y="809"/>
                  </a:lnTo>
                  <a:lnTo>
                    <a:pt x="4090" y="820"/>
                  </a:lnTo>
                  <a:lnTo>
                    <a:pt x="4126" y="832"/>
                  </a:lnTo>
                  <a:lnTo>
                    <a:pt x="4158" y="844"/>
                  </a:lnTo>
                  <a:lnTo>
                    <a:pt x="4189" y="857"/>
                  </a:lnTo>
                  <a:lnTo>
                    <a:pt x="4220" y="873"/>
                  </a:lnTo>
                  <a:lnTo>
                    <a:pt x="4247" y="889"/>
                  </a:lnTo>
                  <a:lnTo>
                    <a:pt x="4272" y="905"/>
                  </a:lnTo>
                  <a:lnTo>
                    <a:pt x="4295" y="924"/>
                  </a:lnTo>
                  <a:lnTo>
                    <a:pt x="4317" y="943"/>
                  </a:lnTo>
                  <a:lnTo>
                    <a:pt x="4336" y="964"/>
                  </a:lnTo>
                  <a:lnTo>
                    <a:pt x="4352" y="986"/>
                  </a:lnTo>
                  <a:lnTo>
                    <a:pt x="4367" y="1009"/>
                  </a:lnTo>
                  <a:lnTo>
                    <a:pt x="4379" y="1033"/>
                  </a:lnTo>
                  <a:lnTo>
                    <a:pt x="4387" y="1057"/>
                  </a:lnTo>
                  <a:lnTo>
                    <a:pt x="4394" y="1081"/>
                  </a:lnTo>
                  <a:lnTo>
                    <a:pt x="4397" y="1103"/>
                  </a:lnTo>
                  <a:lnTo>
                    <a:pt x="4397" y="1127"/>
                  </a:lnTo>
                  <a:lnTo>
                    <a:pt x="4397" y="1149"/>
                  </a:lnTo>
                  <a:lnTo>
                    <a:pt x="4392" y="1173"/>
                  </a:lnTo>
                  <a:lnTo>
                    <a:pt x="4387" y="1196"/>
                  </a:lnTo>
                  <a:lnTo>
                    <a:pt x="4379" y="1219"/>
                  </a:lnTo>
                  <a:lnTo>
                    <a:pt x="4370" y="1242"/>
                  </a:lnTo>
                  <a:lnTo>
                    <a:pt x="4359" y="1264"/>
                  </a:lnTo>
                  <a:lnTo>
                    <a:pt x="4344" y="1287"/>
                  </a:lnTo>
                  <a:lnTo>
                    <a:pt x="4330" y="1309"/>
                  </a:lnTo>
                  <a:lnTo>
                    <a:pt x="4312" y="1331"/>
                  </a:lnTo>
                  <a:lnTo>
                    <a:pt x="4295" y="1352"/>
                  </a:lnTo>
                  <a:lnTo>
                    <a:pt x="4276" y="1373"/>
                  </a:lnTo>
                  <a:lnTo>
                    <a:pt x="4255" y="1393"/>
                  </a:lnTo>
                  <a:lnTo>
                    <a:pt x="4542" y="1548"/>
                  </a:lnTo>
                  <a:lnTo>
                    <a:pt x="5967" y="1038"/>
                  </a:lnTo>
                  <a:lnTo>
                    <a:pt x="4475" y="276"/>
                  </a:lnTo>
                  <a:close/>
                  <a:moveTo>
                    <a:pt x="1912" y="3114"/>
                  </a:moveTo>
                  <a:lnTo>
                    <a:pt x="94" y="2156"/>
                  </a:lnTo>
                  <a:lnTo>
                    <a:pt x="94" y="2008"/>
                  </a:lnTo>
                  <a:lnTo>
                    <a:pt x="1912" y="2966"/>
                  </a:lnTo>
                  <a:lnTo>
                    <a:pt x="1912" y="3114"/>
                  </a:lnTo>
                  <a:close/>
                </a:path>
              </a:pathLst>
            </a:custGeom>
            <a:solidFill>
              <a:srgbClr val="00B0F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200">
                <a:solidFill>
                  <a:schemeClr val="bg2">
                    <a:lumMod val="75000"/>
                  </a:schemeClr>
                </a:solidFill>
                <a:latin typeface="+mn-lt"/>
              </a:endParaRPr>
            </a:p>
          </p:txBody>
        </p:sp>
        <p:sp>
          <p:nvSpPr>
            <p:cNvPr id="75" name="TextBox 7"/>
            <p:cNvSpPr txBox="1">
              <a:spLocks noChangeArrowheads="1"/>
            </p:cNvSpPr>
            <p:nvPr/>
          </p:nvSpPr>
          <p:spPr bwMode="auto">
            <a:xfrm>
              <a:off x="7329220" y="5040130"/>
              <a:ext cx="1919067" cy="220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36576" rIns="0" bIns="0">
              <a:spAutoFit/>
            </a:bodyPr>
            <a:lstStyle/>
            <a:p>
              <a:pPr algn="ctr">
                <a:lnSpc>
                  <a:spcPct val="85000"/>
                </a:lnSpc>
                <a:buClr>
                  <a:schemeClr val="accent2"/>
                </a:buClr>
                <a:buSzPct val="70000"/>
                <a:defRPr/>
              </a:pPr>
              <a:r>
                <a:rPr lang="ru-RU" sz="1400" b="1" dirty="0">
                  <a:solidFill>
                    <a:srgbClr val="00B0F0"/>
                  </a:solidFill>
                  <a:cs typeface="Arial" panose="020B0604020202020204" pitchFamily="34" charset="0"/>
                </a:rPr>
                <a:t>Платеж по договору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2453644" y="5801805"/>
            <a:ext cx="70368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Формирование реестров уступленных денежных требов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Расчет комиссий к удержани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Уточненный прогноз ДДС</a:t>
            </a:r>
          </a:p>
        </p:txBody>
      </p:sp>
    </p:spTree>
    <p:extLst>
      <p:ext uri="{BB962C8B-B14F-4D97-AF65-F5344CB8AC3E}">
        <p14:creationId xmlns:p14="http://schemas.microsoft.com/office/powerpoint/2010/main" val="3140535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36</a:t>
            </a:fld>
            <a:endParaRPr lang="ru-RU" altLang="ru-RU" dirty="0"/>
          </a:p>
        </p:txBody>
      </p:sp>
      <p:cxnSp>
        <p:nvCxnSpPr>
          <p:cNvPr id="7" name="Прямая со стрелкой 6"/>
          <p:cNvCxnSpPr/>
          <p:nvPr/>
        </p:nvCxnSpPr>
        <p:spPr bwMode="auto">
          <a:xfrm>
            <a:off x="3506808" y="2164929"/>
            <a:ext cx="2750998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3661433" y="1779920"/>
            <a:ext cx="2214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Цессия исходящая</a:t>
            </a:r>
          </a:p>
        </p:txBody>
      </p:sp>
      <p:cxnSp>
        <p:nvCxnSpPr>
          <p:cNvPr id="13" name="Прямая со стрелкой 12"/>
          <p:cNvCxnSpPr/>
          <p:nvPr/>
        </p:nvCxnSpPr>
        <p:spPr bwMode="auto">
          <a:xfrm flipH="1">
            <a:off x="3506808" y="2453028"/>
            <a:ext cx="2750998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3796116" y="2453028"/>
            <a:ext cx="20942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Цессия входящая</a:t>
            </a:r>
          </a:p>
        </p:txBody>
      </p:sp>
      <p:sp>
        <p:nvSpPr>
          <p:cNvPr id="17" name="Freeform 100"/>
          <p:cNvSpPr>
            <a:spLocks noChangeAspect="1" noEditPoints="1"/>
          </p:cNvSpPr>
          <p:nvPr/>
        </p:nvSpPr>
        <p:spPr bwMode="auto">
          <a:xfrm>
            <a:off x="2183487" y="1827795"/>
            <a:ext cx="298519" cy="766940"/>
          </a:xfrm>
          <a:custGeom>
            <a:avLst/>
            <a:gdLst>
              <a:gd name="T0" fmla="*/ 2147483647 w 1850"/>
              <a:gd name="T1" fmla="*/ 2147483647 h 4763"/>
              <a:gd name="T2" fmla="*/ 0 w 1850"/>
              <a:gd name="T3" fmla="*/ 2147483647 h 4763"/>
              <a:gd name="T4" fmla="*/ 2147483647 w 1850"/>
              <a:gd name="T5" fmla="*/ 2147483647 h 4763"/>
              <a:gd name="T6" fmla="*/ 2147483647 w 1850"/>
              <a:gd name="T7" fmla="*/ 2147483647 h 4763"/>
              <a:gd name="T8" fmla="*/ 2147483647 w 1850"/>
              <a:gd name="T9" fmla="*/ 2147483647 h 4763"/>
              <a:gd name="T10" fmla="*/ 2147483647 w 1850"/>
              <a:gd name="T11" fmla="*/ 2147483647 h 4763"/>
              <a:gd name="T12" fmla="*/ 2147483647 w 1850"/>
              <a:gd name="T13" fmla="*/ 2147483647 h 4763"/>
              <a:gd name="T14" fmla="*/ 2147483647 w 1850"/>
              <a:gd name="T15" fmla="*/ 2147483647 h 4763"/>
              <a:gd name="T16" fmla="*/ 2147483647 w 1850"/>
              <a:gd name="T17" fmla="*/ 2147483647 h 4763"/>
              <a:gd name="T18" fmla="*/ 2147483647 w 1850"/>
              <a:gd name="T19" fmla="*/ 2147483647 h 4763"/>
              <a:gd name="T20" fmla="*/ 2147483647 w 1850"/>
              <a:gd name="T21" fmla="*/ 2147483647 h 4763"/>
              <a:gd name="T22" fmla="*/ 2147483647 w 1850"/>
              <a:gd name="T23" fmla="*/ 2147483647 h 4763"/>
              <a:gd name="T24" fmla="*/ 2147483647 w 1850"/>
              <a:gd name="T25" fmla="*/ 2147483647 h 4763"/>
              <a:gd name="T26" fmla="*/ 2147483647 w 1850"/>
              <a:gd name="T27" fmla="*/ 2147483647 h 4763"/>
              <a:gd name="T28" fmla="*/ 2147483647 w 1850"/>
              <a:gd name="T29" fmla="*/ 2147483647 h 4763"/>
              <a:gd name="T30" fmla="*/ 2147483647 w 1850"/>
              <a:gd name="T31" fmla="*/ 2147483647 h 4763"/>
              <a:gd name="T32" fmla="*/ 2147483647 w 1850"/>
              <a:gd name="T33" fmla="*/ 2147483647 h 4763"/>
              <a:gd name="T34" fmla="*/ 2147483647 w 1850"/>
              <a:gd name="T35" fmla="*/ 2147483647 h 4763"/>
              <a:gd name="T36" fmla="*/ 2147483647 w 1850"/>
              <a:gd name="T37" fmla="*/ 2147483647 h 4763"/>
              <a:gd name="T38" fmla="*/ 2147483647 w 1850"/>
              <a:gd name="T39" fmla="*/ 2147483647 h 4763"/>
              <a:gd name="T40" fmla="*/ 2147483647 w 1850"/>
              <a:gd name="T41" fmla="*/ 2147483647 h 4763"/>
              <a:gd name="T42" fmla="*/ 2147483647 w 1850"/>
              <a:gd name="T43" fmla="*/ 2147483647 h 4763"/>
              <a:gd name="T44" fmla="*/ 2147483647 w 1850"/>
              <a:gd name="T45" fmla="*/ 2147483647 h 4763"/>
              <a:gd name="T46" fmla="*/ 2147483647 w 1850"/>
              <a:gd name="T47" fmla="*/ 2147483647 h 4763"/>
              <a:gd name="T48" fmla="*/ 2147483647 w 1850"/>
              <a:gd name="T49" fmla="*/ 2147483647 h 4763"/>
              <a:gd name="T50" fmla="*/ 2147483647 w 1850"/>
              <a:gd name="T51" fmla="*/ 2147483647 h 4763"/>
              <a:gd name="T52" fmla="*/ 2147483647 w 1850"/>
              <a:gd name="T53" fmla="*/ 2147483647 h 4763"/>
              <a:gd name="T54" fmla="*/ 2147483647 w 1850"/>
              <a:gd name="T55" fmla="*/ 2147483647 h 4763"/>
              <a:gd name="T56" fmla="*/ 2147483647 w 1850"/>
              <a:gd name="T57" fmla="*/ 2147483647 h 4763"/>
              <a:gd name="T58" fmla="*/ 2147483647 w 1850"/>
              <a:gd name="T59" fmla="*/ 2147483647 h 4763"/>
              <a:gd name="T60" fmla="*/ 2147483647 w 1850"/>
              <a:gd name="T61" fmla="*/ 2147483647 h 4763"/>
              <a:gd name="T62" fmla="*/ 2147483647 w 1850"/>
              <a:gd name="T63" fmla="*/ 2147483647 h 4763"/>
              <a:gd name="T64" fmla="*/ 2147483647 w 1850"/>
              <a:gd name="T65" fmla="*/ 2147483647 h 4763"/>
              <a:gd name="T66" fmla="*/ 2147483647 w 1850"/>
              <a:gd name="T67" fmla="*/ 2147483647 h 4763"/>
              <a:gd name="T68" fmla="*/ 2147483647 w 1850"/>
              <a:gd name="T69" fmla="*/ 2147483647 h 4763"/>
              <a:gd name="T70" fmla="*/ 2147483647 w 1850"/>
              <a:gd name="T71" fmla="*/ 2147483647 h 4763"/>
              <a:gd name="T72" fmla="*/ 2147483647 w 1850"/>
              <a:gd name="T73" fmla="*/ 2147483647 h 4763"/>
              <a:gd name="T74" fmla="*/ 2147483647 w 1850"/>
              <a:gd name="T75" fmla="*/ 2147483647 h 4763"/>
              <a:gd name="T76" fmla="*/ 2147483647 w 1850"/>
              <a:gd name="T77" fmla="*/ 2147483647 h 4763"/>
              <a:gd name="T78" fmla="*/ 2147483647 w 1850"/>
              <a:gd name="T79" fmla="*/ 2147483647 h 4763"/>
              <a:gd name="T80" fmla="*/ 2147483647 w 1850"/>
              <a:gd name="T81" fmla="*/ 2147483647 h 4763"/>
              <a:gd name="T82" fmla="*/ 2147483647 w 1850"/>
              <a:gd name="T83" fmla="*/ 2147483647 h 4763"/>
              <a:gd name="T84" fmla="*/ 2147483647 w 1850"/>
              <a:gd name="T85" fmla="*/ 2147483647 h 4763"/>
              <a:gd name="T86" fmla="*/ 2147483647 w 1850"/>
              <a:gd name="T87" fmla="*/ 2147483647 h 4763"/>
              <a:gd name="T88" fmla="*/ 2147483647 w 1850"/>
              <a:gd name="T89" fmla="*/ 2147483647 h 4763"/>
              <a:gd name="T90" fmla="*/ 2147483647 w 1850"/>
              <a:gd name="T91" fmla="*/ 2147483647 h 4763"/>
              <a:gd name="T92" fmla="*/ 2147483647 w 1850"/>
              <a:gd name="T93" fmla="*/ 2147483647 h 4763"/>
              <a:gd name="T94" fmla="*/ 2147483647 w 1850"/>
              <a:gd name="T95" fmla="*/ 2147483647 h 4763"/>
              <a:gd name="T96" fmla="*/ 2147483647 w 1850"/>
              <a:gd name="T97" fmla="*/ 2147483647 h 4763"/>
              <a:gd name="T98" fmla="*/ 2147483647 w 1850"/>
              <a:gd name="T99" fmla="*/ 2147483647 h 4763"/>
              <a:gd name="T100" fmla="*/ 2147483647 w 1850"/>
              <a:gd name="T101" fmla="*/ 2147483647 h 4763"/>
              <a:gd name="T102" fmla="*/ 2147483647 w 1850"/>
              <a:gd name="T103" fmla="*/ 2147483647 h 4763"/>
              <a:gd name="T104" fmla="*/ 2147483647 w 1850"/>
              <a:gd name="T105" fmla="*/ 2147483647 h 4763"/>
              <a:gd name="T106" fmla="*/ 2147483647 w 1850"/>
              <a:gd name="T107" fmla="*/ 2147483647 h 4763"/>
              <a:gd name="T108" fmla="*/ 2147483647 w 1850"/>
              <a:gd name="T109" fmla="*/ 2147483647 h 4763"/>
              <a:gd name="T110" fmla="*/ 2147483647 w 1850"/>
              <a:gd name="T111" fmla="*/ 2147483647 h 4763"/>
              <a:gd name="T112" fmla="*/ 2147483647 w 1850"/>
              <a:gd name="T113" fmla="*/ 2147483647 h 4763"/>
              <a:gd name="T114" fmla="*/ 2147483647 w 1850"/>
              <a:gd name="T115" fmla="*/ 2147483647 h 4763"/>
              <a:gd name="T116" fmla="*/ 2147483647 w 1850"/>
              <a:gd name="T117" fmla="*/ 2147483647 h 4763"/>
              <a:gd name="T118" fmla="*/ 2147483647 w 185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50"/>
              <a:gd name="T181" fmla="*/ 0 h 4763"/>
              <a:gd name="T182" fmla="*/ 1850 w 185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50" h="4763">
                <a:moveTo>
                  <a:pt x="352" y="3267"/>
                </a:moveTo>
                <a:lnTo>
                  <a:pt x="153" y="3107"/>
                </a:lnTo>
                <a:lnTo>
                  <a:pt x="70" y="2776"/>
                </a:lnTo>
                <a:lnTo>
                  <a:pt x="123" y="2776"/>
                </a:lnTo>
                <a:lnTo>
                  <a:pt x="200" y="3077"/>
                </a:lnTo>
                <a:lnTo>
                  <a:pt x="348" y="3198"/>
                </a:lnTo>
                <a:lnTo>
                  <a:pt x="326" y="2724"/>
                </a:lnTo>
                <a:lnTo>
                  <a:pt x="271" y="2724"/>
                </a:lnTo>
                <a:lnTo>
                  <a:pt x="110" y="2724"/>
                </a:lnTo>
                <a:lnTo>
                  <a:pt x="57" y="2724"/>
                </a:lnTo>
                <a:lnTo>
                  <a:pt x="0" y="2724"/>
                </a:lnTo>
                <a:lnTo>
                  <a:pt x="0" y="1160"/>
                </a:lnTo>
                <a:lnTo>
                  <a:pt x="0" y="1139"/>
                </a:lnTo>
                <a:lnTo>
                  <a:pt x="4" y="1121"/>
                </a:lnTo>
                <a:lnTo>
                  <a:pt x="9" y="1103"/>
                </a:lnTo>
                <a:lnTo>
                  <a:pt x="16" y="1087"/>
                </a:lnTo>
                <a:lnTo>
                  <a:pt x="23" y="1073"/>
                </a:lnTo>
                <a:lnTo>
                  <a:pt x="34" y="1059"/>
                </a:lnTo>
                <a:lnTo>
                  <a:pt x="45" y="1047"/>
                </a:lnTo>
                <a:lnTo>
                  <a:pt x="57" y="1035"/>
                </a:lnTo>
                <a:lnTo>
                  <a:pt x="71" y="1025"/>
                </a:lnTo>
                <a:lnTo>
                  <a:pt x="87" y="1016"/>
                </a:lnTo>
                <a:lnTo>
                  <a:pt x="103" y="1007"/>
                </a:lnTo>
                <a:lnTo>
                  <a:pt x="121" y="998"/>
                </a:lnTo>
                <a:lnTo>
                  <a:pt x="157" y="982"/>
                </a:lnTo>
                <a:lnTo>
                  <a:pt x="196" y="968"/>
                </a:lnTo>
                <a:lnTo>
                  <a:pt x="592" y="823"/>
                </a:lnTo>
                <a:lnTo>
                  <a:pt x="719" y="1576"/>
                </a:lnTo>
                <a:lnTo>
                  <a:pt x="780" y="1033"/>
                </a:lnTo>
                <a:lnTo>
                  <a:pt x="766" y="1025"/>
                </a:lnTo>
                <a:lnTo>
                  <a:pt x="753" y="1016"/>
                </a:lnTo>
                <a:lnTo>
                  <a:pt x="741" y="1004"/>
                </a:lnTo>
                <a:lnTo>
                  <a:pt x="732" y="991"/>
                </a:lnTo>
                <a:lnTo>
                  <a:pt x="831" y="898"/>
                </a:lnTo>
                <a:lnTo>
                  <a:pt x="930" y="991"/>
                </a:lnTo>
                <a:lnTo>
                  <a:pt x="920" y="1004"/>
                </a:lnTo>
                <a:lnTo>
                  <a:pt x="909" y="1016"/>
                </a:lnTo>
                <a:lnTo>
                  <a:pt x="897" y="1025"/>
                </a:lnTo>
                <a:lnTo>
                  <a:pt x="883" y="1033"/>
                </a:lnTo>
                <a:lnTo>
                  <a:pt x="943" y="1576"/>
                </a:lnTo>
                <a:lnTo>
                  <a:pt x="1070" y="823"/>
                </a:lnTo>
                <a:lnTo>
                  <a:pt x="1466" y="968"/>
                </a:lnTo>
                <a:lnTo>
                  <a:pt x="1505" y="982"/>
                </a:lnTo>
                <a:lnTo>
                  <a:pt x="1540" y="998"/>
                </a:lnTo>
                <a:lnTo>
                  <a:pt x="1555" y="1007"/>
                </a:lnTo>
                <a:lnTo>
                  <a:pt x="1571" y="1016"/>
                </a:lnTo>
                <a:lnTo>
                  <a:pt x="1584" y="1025"/>
                </a:lnTo>
                <a:lnTo>
                  <a:pt x="1597" y="1037"/>
                </a:lnTo>
                <a:lnTo>
                  <a:pt x="1610" y="1047"/>
                </a:lnTo>
                <a:lnTo>
                  <a:pt x="1620" y="1060"/>
                </a:lnTo>
                <a:lnTo>
                  <a:pt x="1631" y="1073"/>
                </a:lnTo>
                <a:lnTo>
                  <a:pt x="1638" y="1087"/>
                </a:lnTo>
                <a:lnTo>
                  <a:pt x="1646" y="1104"/>
                </a:lnTo>
                <a:lnTo>
                  <a:pt x="1653" y="1121"/>
                </a:lnTo>
                <a:lnTo>
                  <a:pt x="1658" y="1139"/>
                </a:lnTo>
                <a:lnTo>
                  <a:pt x="1663" y="1160"/>
                </a:lnTo>
                <a:lnTo>
                  <a:pt x="1842" y="2208"/>
                </a:lnTo>
                <a:lnTo>
                  <a:pt x="1422" y="2208"/>
                </a:lnTo>
                <a:lnTo>
                  <a:pt x="1449" y="2260"/>
                </a:lnTo>
                <a:lnTo>
                  <a:pt x="1850" y="2260"/>
                </a:lnTo>
                <a:lnTo>
                  <a:pt x="1850" y="2321"/>
                </a:lnTo>
                <a:lnTo>
                  <a:pt x="1733" y="2321"/>
                </a:lnTo>
                <a:lnTo>
                  <a:pt x="1422" y="2321"/>
                </a:lnTo>
                <a:lnTo>
                  <a:pt x="1340" y="2163"/>
                </a:lnTo>
                <a:lnTo>
                  <a:pt x="1333" y="2154"/>
                </a:lnTo>
                <a:lnTo>
                  <a:pt x="1328" y="2144"/>
                </a:lnTo>
                <a:lnTo>
                  <a:pt x="1322" y="2137"/>
                </a:lnTo>
                <a:lnTo>
                  <a:pt x="1315" y="2130"/>
                </a:lnTo>
                <a:lnTo>
                  <a:pt x="1301" y="2118"/>
                </a:lnTo>
                <a:lnTo>
                  <a:pt x="1287" y="2111"/>
                </a:lnTo>
                <a:lnTo>
                  <a:pt x="1272" y="2105"/>
                </a:lnTo>
                <a:lnTo>
                  <a:pt x="1258" y="2103"/>
                </a:lnTo>
                <a:lnTo>
                  <a:pt x="1244" y="2102"/>
                </a:lnTo>
                <a:lnTo>
                  <a:pt x="1229" y="2104"/>
                </a:lnTo>
                <a:lnTo>
                  <a:pt x="1215" y="2107"/>
                </a:lnTo>
                <a:lnTo>
                  <a:pt x="1203" y="2111"/>
                </a:lnTo>
                <a:lnTo>
                  <a:pt x="1192" y="2116"/>
                </a:lnTo>
                <a:lnTo>
                  <a:pt x="1183" y="2122"/>
                </a:lnTo>
                <a:lnTo>
                  <a:pt x="1174" y="2129"/>
                </a:lnTo>
                <a:lnTo>
                  <a:pt x="1168" y="2135"/>
                </a:lnTo>
                <a:lnTo>
                  <a:pt x="1165" y="2141"/>
                </a:lnTo>
                <a:lnTo>
                  <a:pt x="1162" y="2147"/>
                </a:lnTo>
                <a:lnTo>
                  <a:pt x="1157" y="2387"/>
                </a:lnTo>
                <a:lnTo>
                  <a:pt x="1157" y="2402"/>
                </a:lnTo>
                <a:lnTo>
                  <a:pt x="1159" y="2415"/>
                </a:lnTo>
                <a:lnTo>
                  <a:pt x="1162" y="2428"/>
                </a:lnTo>
                <a:lnTo>
                  <a:pt x="1166" y="2439"/>
                </a:lnTo>
                <a:lnTo>
                  <a:pt x="1171" y="2450"/>
                </a:lnTo>
                <a:lnTo>
                  <a:pt x="1176" y="2460"/>
                </a:lnTo>
                <a:lnTo>
                  <a:pt x="1184" y="2469"/>
                </a:lnTo>
                <a:lnTo>
                  <a:pt x="1192" y="2478"/>
                </a:lnTo>
                <a:lnTo>
                  <a:pt x="1200" y="2486"/>
                </a:lnTo>
                <a:lnTo>
                  <a:pt x="1210" y="2494"/>
                </a:lnTo>
                <a:lnTo>
                  <a:pt x="1220" y="2500"/>
                </a:lnTo>
                <a:lnTo>
                  <a:pt x="1231" y="2506"/>
                </a:lnTo>
                <a:lnTo>
                  <a:pt x="1242" y="2511"/>
                </a:lnTo>
                <a:lnTo>
                  <a:pt x="1254" y="2516"/>
                </a:lnTo>
                <a:lnTo>
                  <a:pt x="1279" y="2522"/>
                </a:lnTo>
                <a:lnTo>
                  <a:pt x="1305" y="2526"/>
                </a:lnTo>
                <a:lnTo>
                  <a:pt x="1332" y="2528"/>
                </a:lnTo>
                <a:lnTo>
                  <a:pt x="1359" y="2526"/>
                </a:lnTo>
                <a:lnTo>
                  <a:pt x="1385" y="2522"/>
                </a:lnTo>
                <a:lnTo>
                  <a:pt x="1411" y="2515"/>
                </a:lnTo>
                <a:lnTo>
                  <a:pt x="1437" y="2506"/>
                </a:lnTo>
                <a:lnTo>
                  <a:pt x="1459" y="2495"/>
                </a:lnTo>
                <a:lnTo>
                  <a:pt x="1471" y="2489"/>
                </a:lnTo>
                <a:lnTo>
                  <a:pt x="1480" y="2481"/>
                </a:lnTo>
                <a:lnTo>
                  <a:pt x="1620" y="2373"/>
                </a:lnTo>
                <a:lnTo>
                  <a:pt x="1705" y="2373"/>
                </a:lnTo>
                <a:lnTo>
                  <a:pt x="1512" y="2522"/>
                </a:lnTo>
                <a:lnTo>
                  <a:pt x="1498" y="2532"/>
                </a:lnTo>
                <a:lnTo>
                  <a:pt x="1483" y="2541"/>
                </a:lnTo>
                <a:lnTo>
                  <a:pt x="1464" y="2548"/>
                </a:lnTo>
                <a:lnTo>
                  <a:pt x="1446" y="2556"/>
                </a:lnTo>
                <a:lnTo>
                  <a:pt x="1345" y="4763"/>
                </a:lnTo>
                <a:lnTo>
                  <a:pt x="909" y="4763"/>
                </a:lnTo>
                <a:lnTo>
                  <a:pt x="909" y="2771"/>
                </a:lnTo>
                <a:lnTo>
                  <a:pt x="857" y="2771"/>
                </a:lnTo>
                <a:lnTo>
                  <a:pt x="857" y="4763"/>
                </a:lnTo>
                <a:lnTo>
                  <a:pt x="421" y="4763"/>
                </a:lnTo>
                <a:lnTo>
                  <a:pt x="352" y="3267"/>
                </a:lnTo>
                <a:close/>
                <a:moveTo>
                  <a:pt x="1106" y="2321"/>
                </a:moveTo>
                <a:lnTo>
                  <a:pt x="645" y="2321"/>
                </a:lnTo>
                <a:lnTo>
                  <a:pt x="645" y="2372"/>
                </a:lnTo>
                <a:lnTo>
                  <a:pt x="1105" y="2372"/>
                </a:lnTo>
                <a:lnTo>
                  <a:pt x="1106" y="2321"/>
                </a:lnTo>
                <a:close/>
                <a:moveTo>
                  <a:pt x="1109" y="2208"/>
                </a:moveTo>
                <a:lnTo>
                  <a:pt x="645" y="2208"/>
                </a:lnTo>
                <a:lnTo>
                  <a:pt x="645" y="2260"/>
                </a:lnTo>
                <a:lnTo>
                  <a:pt x="1107" y="2260"/>
                </a:lnTo>
                <a:lnTo>
                  <a:pt x="1109" y="2208"/>
                </a:lnTo>
                <a:close/>
                <a:moveTo>
                  <a:pt x="1393" y="2152"/>
                </a:moveTo>
                <a:lnTo>
                  <a:pt x="1773" y="2152"/>
                </a:lnTo>
                <a:lnTo>
                  <a:pt x="1606" y="1820"/>
                </a:lnTo>
                <a:lnTo>
                  <a:pt x="660" y="1820"/>
                </a:lnTo>
                <a:lnTo>
                  <a:pt x="640" y="2152"/>
                </a:lnTo>
                <a:lnTo>
                  <a:pt x="1110" y="2152"/>
                </a:lnTo>
                <a:lnTo>
                  <a:pt x="1110" y="2146"/>
                </a:lnTo>
                <a:lnTo>
                  <a:pt x="1111" y="2134"/>
                </a:lnTo>
                <a:lnTo>
                  <a:pt x="1114" y="2124"/>
                </a:lnTo>
                <a:lnTo>
                  <a:pt x="1116" y="2115"/>
                </a:lnTo>
                <a:lnTo>
                  <a:pt x="1120" y="2105"/>
                </a:lnTo>
                <a:lnTo>
                  <a:pt x="1126" y="2096"/>
                </a:lnTo>
                <a:lnTo>
                  <a:pt x="1132" y="2089"/>
                </a:lnTo>
                <a:lnTo>
                  <a:pt x="1139" y="2082"/>
                </a:lnTo>
                <a:lnTo>
                  <a:pt x="1146" y="2076"/>
                </a:lnTo>
                <a:lnTo>
                  <a:pt x="1154" y="2070"/>
                </a:lnTo>
                <a:lnTo>
                  <a:pt x="1163" y="2065"/>
                </a:lnTo>
                <a:lnTo>
                  <a:pt x="1172" y="2061"/>
                </a:lnTo>
                <a:lnTo>
                  <a:pt x="1183" y="2059"/>
                </a:lnTo>
                <a:lnTo>
                  <a:pt x="1203" y="2054"/>
                </a:lnTo>
                <a:lnTo>
                  <a:pt x="1226" y="2052"/>
                </a:lnTo>
                <a:lnTo>
                  <a:pt x="1249" y="2054"/>
                </a:lnTo>
                <a:lnTo>
                  <a:pt x="1271" y="2057"/>
                </a:lnTo>
                <a:lnTo>
                  <a:pt x="1294" y="2064"/>
                </a:lnTo>
                <a:lnTo>
                  <a:pt x="1316" y="2073"/>
                </a:lnTo>
                <a:lnTo>
                  <a:pt x="1327" y="2078"/>
                </a:lnTo>
                <a:lnTo>
                  <a:pt x="1337" y="2085"/>
                </a:lnTo>
                <a:lnTo>
                  <a:pt x="1346" y="2092"/>
                </a:lnTo>
                <a:lnTo>
                  <a:pt x="1355" y="2100"/>
                </a:lnTo>
                <a:lnTo>
                  <a:pt x="1364" y="2108"/>
                </a:lnTo>
                <a:lnTo>
                  <a:pt x="1372" y="2117"/>
                </a:lnTo>
                <a:lnTo>
                  <a:pt x="1379" y="2128"/>
                </a:lnTo>
                <a:lnTo>
                  <a:pt x="1385" y="2138"/>
                </a:lnTo>
                <a:lnTo>
                  <a:pt x="1393" y="2152"/>
                </a:lnTo>
                <a:close/>
                <a:moveTo>
                  <a:pt x="1114" y="504"/>
                </a:moveTo>
                <a:lnTo>
                  <a:pt x="1114" y="504"/>
                </a:lnTo>
                <a:lnTo>
                  <a:pt x="1109" y="531"/>
                </a:lnTo>
                <a:lnTo>
                  <a:pt x="1102" y="557"/>
                </a:lnTo>
                <a:lnTo>
                  <a:pt x="1093" y="583"/>
                </a:lnTo>
                <a:lnTo>
                  <a:pt x="1081" y="607"/>
                </a:lnTo>
                <a:lnTo>
                  <a:pt x="1068" y="630"/>
                </a:lnTo>
                <a:lnTo>
                  <a:pt x="1054" y="651"/>
                </a:lnTo>
                <a:lnTo>
                  <a:pt x="1039" y="672"/>
                </a:lnTo>
                <a:lnTo>
                  <a:pt x="1022" y="690"/>
                </a:lnTo>
                <a:lnTo>
                  <a:pt x="1002" y="707"/>
                </a:lnTo>
                <a:lnTo>
                  <a:pt x="981" y="721"/>
                </a:lnTo>
                <a:lnTo>
                  <a:pt x="961" y="734"/>
                </a:lnTo>
                <a:lnTo>
                  <a:pt x="939" y="746"/>
                </a:lnTo>
                <a:lnTo>
                  <a:pt x="914" y="755"/>
                </a:lnTo>
                <a:lnTo>
                  <a:pt x="889" y="760"/>
                </a:lnTo>
                <a:lnTo>
                  <a:pt x="865" y="764"/>
                </a:lnTo>
                <a:lnTo>
                  <a:pt x="839" y="765"/>
                </a:lnTo>
                <a:lnTo>
                  <a:pt x="813" y="764"/>
                </a:lnTo>
                <a:lnTo>
                  <a:pt x="787" y="760"/>
                </a:lnTo>
                <a:lnTo>
                  <a:pt x="762" y="753"/>
                </a:lnTo>
                <a:lnTo>
                  <a:pt x="739" y="746"/>
                </a:lnTo>
                <a:lnTo>
                  <a:pt x="715" y="734"/>
                </a:lnTo>
                <a:lnTo>
                  <a:pt x="695" y="721"/>
                </a:lnTo>
                <a:lnTo>
                  <a:pt x="674" y="707"/>
                </a:lnTo>
                <a:lnTo>
                  <a:pt x="656" y="690"/>
                </a:lnTo>
                <a:lnTo>
                  <a:pt x="637" y="670"/>
                </a:lnTo>
                <a:lnTo>
                  <a:pt x="622" y="651"/>
                </a:lnTo>
                <a:lnTo>
                  <a:pt x="608" y="629"/>
                </a:lnTo>
                <a:lnTo>
                  <a:pt x="595" y="607"/>
                </a:lnTo>
                <a:lnTo>
                  <a:pt x="584" y="582"/>
                </a:lnTo>
                <a:lnTo>
                  <a:pt x="575" y="557"/>
                </a:lnTo>
                <a:lnTo>
                  <a:pt x="567" y="530"/>
                </a:lnTo>
                <a:lnTo>
                  <a:pt x="563" y="503"/>
                </a:lnTo>
                <a:lnTo>
                  <a:pt x="557" y="492"/>
                </a:lnTo>
                <a:lnTo>
                  <a:pt x="552" y="479"/>
                </a:lnTo>
                <a:lnTo>
                  <a:pt x="547" y="468"/>
                </a:lnTo>
                <a:lnTo>
                  <a:pt x="543" y="455"/>
                </a:lnTo>
                <a:lnTo>
                  <a:pt x="540" y="442"/>
                </a:lnTo>
                <a:lnTo>
                  <a:pt x="537" y="427"/>
                </a:lnTo>
                <a:lnTo>
                  <a:pt x="536" y="413"/>
                </a:lnTo>
                <a:lnTo>
                  <a:pt x="536" y="397"/>
                </a:lnTo>
                <a:lnTo>
                  <a:pt x="536" y="179"/>
                </a:lnTo>
                <a:lnTo>
                  <a:pt x="537" y="168"/>
                </a:lnTo>
                <a:lnTo>
                  <a:pt x="540" y="156"/>
                </a:lnTo>
                <a:lnTo>
                  <a:pt x="544" y="143"/>
                </a:lnTo>
                <a:lnTo>
                  <a:pt x="549" y="131"/>
                </a:lnTo>
                <a:lnTo>
                  <a:pt x="557" y="119"/>
                </a:lnTo>
                <a:lnTo>
                  <a:pt x="566" y="109"/>
                </a:lnTo>
                <a:lnTo>
                  <a:pt x="575" y="97"/>
                </a:lnTo>
                <a:lnTo>
                  <a:pt x="587" y="87"/>
                </a:lnTo>
                <a:lnTo>
                  <a:pt x="598" y="77"/>
                </a:lnTo>
                <a:lnTo>
                  <a:pt x="613" y="68"/>
                </a:lnTo>
                <a:lnTo>
                  <a:pt x="626" y="58"/>
                </a:lnTo>
                <a:lnTo>
                  <a:pt x="641" y="49"/>
                </a:lnTo>
                <a:lnTo>
                  <a:pt x="657" y="42"/>
                </a:lnTo>
                <a:lnTo>
                  <a:pt x="672" y="34"/>
                </a:lnTo>
                <a:lnTo>
                  <a:pt x="689" y="27"/>
                </a:lnTo>
                <a:lnTo>
                  <a:pt x="708" y="21"/>
                </a:lnTo>
                <a:lnTo>
                  <a:pt x="724" y="16"/>
                </a:lnTo>
                <a:lnTo>
                  <a:pt x="743" y="10"/>
                </a:lnTo>
                <a:lnTo>
                  <a:pt x="759" y="6"/>
                </a:lnTo>
                <a:lnTo>
                  <a:pt x="778" y="4"/>
                </a:lnTo>
                <a:lnTo>
                  <a:pt x="796" y="1"/>
                </a:lnTo>
                <a:lnTo>
                  <a:pt x="813" y="0"/>
                </a:lnTo>
                <a:lnTo>
                  <a:pt x="831" y="0"/>
                </a:lnTo>
                <a:lnTo>
                  <a:pt x="848" y="1"/>
                </a:lnTo>
                <a:lnTo>
                  <a:pt x="865" y="3"/>
                </a:lnTo>
                <a:lnTo>
                  <a:pt x="880" y="5"/>
                </a:lnTo>
                <a:lnTo>
                  <a:pt x="896" y="9"/>
                </a:lnTo>
                <a:lnTo>
                  <a:pt x="910" y="16"/>
                </a:lnTo>
                <a:lnTo>
                  <a:pt x="924" y="22"/>
                </a:lnTo>
                <a:lnTo>
                  <a:pt x="937" y="30"/>
                </a:lnTo>
                <a:lnTo>
                  <a:pt x="949" y="39"/>
                </a:lnTo>
                <a:lnTo>
                  <a:pt x="959" y="49"/>
                </a:lnTo>
                <a:lnTo>
                  <a:pt x="971" y="45"/>
                </a:lnTo>
                <a:lnTo>
                  <a:pt x="983" y="42"/>
                </a:lnTo>
                <a:lnTo>
                  <a:pt x="993" y="39"/>
                </a:lnTo>
                <a:lnTo>
                  <a:pt x="1004" y="38"/>
                </a:lnTo>
                <a:lnTo>
                  <a:pt x="1014" y="38"/>
                </a:lnTo>
                <a:lnTo>
                  <a:pt x="1023" y="38"/>
                </a:lnTo>
                <a:lnTo>
                  <a:pt x="1032" y="39"/>
                </a:lnTo>
                <a:lnTo>
                  <a:pt x="1041" y="40"/>
                </a:lnTo>
                <a:lnTo>
                  <a:pt x="1049" y="43"/>
                </a:lnTo>
                <a:lnTo>
                  <a:pt x="1057" y="47"/>
                </a:lnTo>
                <a:lnTo>
                  <a:pt x="1065" y="51"/>
                </a:lnTo>
                <a:lnTo>
                  <a:pt x="1072" y="55"/>
                </a:lnTo>
                <a:lnTo>
                  <a:pt x="1085" y="66"/>
                </a:lnTo>
                <a:lnTo>
                  <a:pt x="1097" y="81"/>
                </a:lnTo>
                <a:lnTo>
                  <a:pt x="1107" y="97"/>
                </a:lnTo>
                <a:lnTo>
                  <a:pt x="1116" y="116"/>
                </a:lnTo>
                <a:lnTo>
                  <a:pt x="1124" y="135"/>
                </a:lnTo>
                <a:lnTo>
                  <a:pt x="1131" y="157"/>
                </a:lnTo>
                <a:lnTo>
                  <a:pt x="1135" y="181"/>
                </a:lnTo>
                <a:lnTo>
                  <a:pt x="1139" y="205"/>
                </a:lnTo>
                <a:lnTo>
                  <a:pt x="1140" y="230"/>
                </a:lnTo>
                <a:lnTo>
                  <a:pt x="1141" y="257"/>
                </a:lnTo>
                <a:lnTo>
                  <a:pt x="1141" y="397"/>
                </a:lnTo>
                <a:lnTo>
                  <a:pt x="1140" y="413"/>
                </a:lnTo>
                <a:lnTo>
                  <a:pt x="1139" y="427"/>
                </a:lnTo>
                <a:lnTo>
                  <a:pt x="1137" y="442"/>
                </a:lnTo>
                <a:lnTo>
                  <a:pt x="1133" y="455"/>
                </a:lnTo>
                <a:lnTo>
                  <a:pt x="1129" y="468"/>
                </a:lnTo>
                <a:lnTo>
                  <a:pt x="1126" y="481"/>
                </a:lnTo>
                <a:lnTo>
                  <a:pt x="1120" y="492"/>
                </a:lnTo>
                <a:lnTo>
                  <a:pt x="1114" y="504"/>
                </a:lnTo>
                <a:close/>
                <a:moveTo>
                  <a:pt x="619" y="313"/>
                </a:moveTo>
                <a:lnTo>
                  <a:pt x="619" y="313"/>
                </a:lnTo>
                <a:lnTo>
                  <a:pt x="615" y="329"/>
                </a:lnTo>
                <a:lnTo>
                  <a:pt x="613" y="346"/>
                </a:lnTo>
                <a:lnTo>
                  <a:pt x="611" y="362"/>
                </a:lnTo>
                <a:lnTo>
                  <a:pt x="611" y="379"/>
                </a:lnTo>
                <a:lnTo>
                  <a:pt x="611" y="455"/>
                </a:lnTo>
                <a:lnTo>
                  <a:pt x="611" y="471"/>
                </a:lnTo>
                <a:lnTo>
                  <a:pt x="613" y="488"/>
                </a:lnTo>
                <a:lnTo>
                  <a:pt x="615" y="505"/>
                </a:lnTo>
                <a:lnTo>
                  <a:pt x="619" y="522"/>
                </a:lnTo>
                <a:lnTo>
                  <a:pt x="623" y="538"/>
                </a:lnTo>
                <a:lnTo>
                  <a:pt x="628" y="553"/>
                </a:lnTo>
                <a:lnTo>
                  <a:pt x="635" y="569"/>
                </a:lnTo>
                <a:lnTo>
                  <a:pt x="641" y="583"/>
                </a:lnTo>
                <a:lnTo>
                  <a:pt x="649" y="597"/>
                </a:lnTo>
                <a:lnTo>
                  <a:pt x="657" y="610"/>
                </a:lnTo>
                <a:lnTo>
                  <a:pt x="667" y="625"/>
                </a:lnTo>
                <a:lnTo>
                  <a:pt x="676" y="636"/>
                </a:lnTo>
                <a:lnTo>
                  <a:pt x="688" y="648"/>
                </a:lnTo>
                <a:lnTo>
                  <a:pt x="698" y="659"/>
                </a:lnTo>
                <a:lnTo>
                  <a:pt x="711" y="669"/>
                </a:lnTo>
                <a:lnTo>
                  <a:pt x="723" y="678"/>
                </a:lnTo>
                <a:lnTo>
                  <a:pt x="736" y="686"/>
                </a:lnTo>
                <a:lnTo>
                  <a:pt x="750" y="694"/>
                </a:lnTo>
                <a:lnTo>
                  <a:pt x="763" y="699"/>
                </a:lnTo>
                <a:lnTo>
                  <a:pt x="778" y="704"/>
                </a:lnTo>
                <a:lnTo>
                  <a:pt x="793" y="708"/>
                </a:lnTo>
                <a:lnTo>
                  <a:pt x="808" y="712"/>
                </a:lnTo>
                <a:lnTo>
                  <a:pt x="823" y="713"/>
                </a:lnTo>
                <a:lnTo>
                  <a:pt x="839" y="713"/>
                </a:lnTo>
                <a:lnTo>
                  <a:pt x="854" y="713"/>
                </a:lnTo>
                <a:lnTo>
                  <a:pt x="869" y="712"/>
                </a:lnTo>
                <a:lnTo>
                  <a:pt x="884" y="708"/>
                </a:lnTo>
                <a:lnTo>
                  <a:pt x="898" y="704"/>
                </a:lnTo>
                <a:lnTo>
                  <a:pt x="913" y="699"/>
                </a:lnTo>
                <a:lnTo>
                  <a:pt x="927" y="694"/>
                </a:lnTo>
                <a:lnTo>
                  <a:pt x="940" y="686"/>
                </a:lnTo>
                <a:lnTo>
                  <a:pt x="953" y="678"/>
                </a:lnTo>
                <a:lnTo>
                  <a:pt x="966" y="669"/>
                </a:lnTo>
                <a:lnTo>
                  <a:pt x="978" y="660"/>
                </a:lnTo>
                <a:lnTo>
                  <a:pt x="988" y="648"/>
                </a:lnTo>
                <a:lnTo>
                  <a:pt x="1000" y="638"/>
                </a:lnTo>
                <a:lnTo>
                  <a:pt x="1009" y="625"/>
                </a:lnTo>
                <a:lnTo>
                  <a:pt x="1019" y="612"/>
                </a:lnTo>
                <a:lnTo>
                  <a:pt x="1027" y="599"/>
                </a:lnTo>
                <a:lnTo>
                  <a:pt x="1035" y="584"/>
                </a:lnTo>
                <a:lnTo>
                  <a:pt x="1042" y="569"/>
                </a:lnTo>
                <a:lnTo>
                  <a:pt x="1048" y="555"/>
                </a:lnTo>
                <a:lnTo>
                  <a:pt x="1053" y="539"/>
                </a:lnTo>
                <a:lnTo>
                  <a:pt x="1058" y="523"/>
                </a:lnTo>
                <a:lnTo>
                  <a:pt x="1061" y="507"/>
                </a:lnTo>
                <a:lnTo>
                  <a:pt x="1063" y="490"/>
                </a:lnTo>
                <a:lnTo>
                  <a:pt x="1065" y="471"/>
                </a:lnTo>
                <a:lnTo>
                  <a:pt x="1066" y="455"/>
                </a:lnTo>
                <a:lnTo>
                  <a:pt x="1066" y="379"/>
                </a:lnTo>
                <a:lnTo>
                  <a:pt x="1065" y="349"/>
                </a:lnTo>
                <a:lnTo>
                  <a:pt x="1059" y="320"/>
                </a:lnTo>
                <a:lnTo>
                  <a:pt x="1053" y="292"/>
                </a:lnTo>
                <a:lnTo>
                  <a:pt x="1042" y="266"/>
                </a:lnTo>
                <a:lnTo>
                  <a:pt x="1031" y="242"/>
                </a:lnTo>
                <a:lnTo>
                  <a:pt x="1017" y="218"/>
                </a:lnTo>
                <a:lnTo>
                  <a:pt x="1001" y="197"/>
                </a:lnTo>
                <a:lnTo>
                  <a:pt x="983" y="179"/>
                </a:lnTo>
                <a:lnTo>
                  <a:pt x="940" y="200"/>
                </a:lnTo>
                <a:lnTo>
                  <a:pt x="896" y="221"/>
                </a:lnTo>
                <a:lnTo>
                  <a:pt x="850" y="239"/>
                </a:lnTo>
                <a:lnTo>
                  <a:pt x="806" y="256"/>
                </a:lnTo>
                <a:lnTo>
                  <a:pt x="759" y="273"/>
                </a:lnTo>
                <a:lnTo>
                  <a:pt x="714" y="287"/>
                </a:lnTo>
                <a:lnTo>
                  <a:pt x="666" y="300"/>
                </a:lnTo>
                <a:lnTo>
                  <a:pt x="619" y="31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0" name="Freeform 100"/>
          <p:cNvSpPr>
            <a:spLocks noChangeAspect="1" noEditPoints="1"/>
          </p:cNvSpPr>
          <p:nvPr/>
        </p:nvSpPr>
        <p:spPr bwMode="auto">
          <a:xfrm>
            <a:off x="7638084" y="1822410"/>
            <a:ext cx="298519" cy="766940"/>
          </a:xfrm>
          <a:custGeom>
            <a:avLst/>
            <a:gdLst>
              <a:gd name="T0" fmla="*/ 2147483647 w 1850"/>
              <a:gd name="T1" fmla="*/ 2147483647 h 4763"/>
              <a:gd name="T2" fmla="*/ 0 w 1850"/>
              <a:gd name="T3" fmla="*/ 2147483647 h 4763"/>
              <a:gd name="T4" fmla="*/ 2147483647 w 1850"/>
              <a:gd name="T5" fmla="*/ 2147483647 h 4763"/>
              <a:gd name="T6" fmla="*/ 2147483647 w 1850"/>
              <a:gd name="T7" fmla="*/ 2147483647 h 4763"/>
              <a:gd name="T8" fmla="*/ 2147483647 w 1850"/>
              <a:gd name="T9" fmla="*/ 2147483647 h 4763"/>
              <a:gd name="T10" fmla="*/ 2147483647 w 1850"/>
              <a:gd name="T11" fmla="*/ 2147483647 h 4763"/>
              <a:gd name="T12" fmla="*/ 2147483647 w 1850"/>
              <a:gd name="T13" fmla="*/ 2147483647 h 4763"/>
              <a:gd name="T14" fmla="*/ 2147483647 w 1850"/>
              <a:gd name="T15" fmla="*/ 2147483647 h 4763"/>
              <a:gd name="T16" fmla="*/ 2147483647 w 1850"/>
              <a:gd name="T17" fmla="*/ 2147483647 h 4763"/>
              <a:gd name="T18" fmla="*/ 2147483647 w 1850"/>
              <a:gd name="T19" fmla="*/ 2147483647 h 4763"/>
              <a:gd name="T20" fmla="*/ 2147483647 w 1850"/>
              <a:gd name="T21" fmla="*/ 2147483647 h 4763"/>
              <a:gd name="T22" fmla="*/ 2147483647 w 1850"/>
              <a:gd name="T23" fmla="*/ 2147483647 h 4763"/>
              <a:gd name="T24" fmla="*/ 2147483647 w 1850"/>
              <a:gd name="T25" fmla="*/ 2147483647 h 4763"/>
              <a:gd name="T26" fmla="*/ 2147483647 w 1850"/>
              <a:gd name="T27" fmla="*/ 2147483647 h 4763"/>
              <a:gd name="T28" fmla="*/ 2147483647 w 1850"/>
              <a:gd name="T29" fmla="*/ 2147483647 h 4763"/>
              <a:gd name="T30" fmla="*/ 2147483647 w 1850"/>
              <a:gd name="T31" fmla="*/ 2147483647 h 4763"/>
              <a:gd name="T32" fmla="*/ 2147483647 w 1850"/>
              <a:gd name="T33" fmla="*/ 2147483647 h 4763"/>
              <a:gd name="T34" fmla="*/ 2147483647 w 1850"/>
              <a:gd name="T35" fmla="*/ 2147483647 h 4763"/>
              <a:gd name="T36" fmla="*/ 2147483647 w 1850"/>
              <a:gd name="T37" fmla="*/ 2147483647 h 4763"/>
              <a:gd name="T38" fmla="*/ 2147483647 w 1850"/>
              <a:gd name="T39" fmla="*/ 2147483647 h 4763"/>
              <a:gd name="T40" fmla="*/ 2147483647 w 1850"/>
              <a:gd name="T41" fmla="*/ 2147483647 h 4763"/>
              <a:gd name="T42" fmla="*/ 2147483647 w 1850"/>
              <a:gd name="T43" fmla="*/ 2147483647 h 4763"/>
              <a:gd name="T44" fmla="*/ 2147483647 w 1850"/>
              <a:gd name="T45" fmla="*/ 2147483647 h 4763"/>
              <a:gd name="T46" fmla="*/ 2147483647 w 1850"/>
              <a:gd name="T47" fmla="*/ 2147483647 h 4763"/>
              <a:gd name="T48" fmla="*/ 2147483647 w 1850"/>
              <a:gd name="T49" fmla="*/ 2147483647 h 4763"/>
              <a:gd name="T50" fmla="*/ 2147483647 w 1850"/>
              <a:gd name="T51" fmla="*/ 2147483647 h 4763"/>
              <a:gd name="T52" fmla="*/ 2147483647 w 1850"/>
              <a:gd name="T53" fmla="*/ 2147483647 h 4763"/>
              <a:gd name="T54" fmla="*/ 2147483647 w 1850"/>
              <a:gd name="T55" fmla="*/ 2147483647 h 4763"/>
              <a:gd name="T56" fmla="*/ 2147483647 w 1850"/>
              <a:gd name="T57" fmla="*/ 2147483647 h 4763"/>
              <a:gd name="T58" fmla="*/ 2147483647 w 1850"/>
              <a:gd name="T59" fmla="*/ 2147483647 h 4763"/>
              <a:gd name="T60" fmla="*/ 2147483647 w 1850"/>
              <a:gd name="T61" fmla="*/ 2147483647 h 4763"/>
              <a:gd name="T62" fmla="*/ 2147483647 w 1850"/>
              <a:gd name="T63" fmla="*/ 2147483647 h 4763"/>
              <a:gd name="T64" fmla="*/ 2147483647 w 1850"/>
              <a:gd name="T65" fmla="*/ 2147483647 h 4763"/>
              <a:gd name="T66" fmla="*/ 2147483647 w 1850"/>
              <a:gd name="T67" fmla="*/ 2147483647 h 4763"/>
              <a:gd name="T68" fmla="*/ 2147483647 w 1850"/>
              <a:gd name="T69" fmla="*/ 2147483647 h 4763"/>
              <a:gd name="T70" fmla="*/ 2147483647 w 1850"/>
              <a:gd name="T71" fmla="*/ 2147483647 h 4763"/>
              <a:gd name="T72" fmla="*/ 2147483647 w 1850"/>
              <a:gd name="T73" fmla="*/ 2147483647 h 4763"/>
              <a:gd name="T74" fmla="*/ 2147483647 w 1850"/>
              <a:gd name="T75" fmla="*/ 2147483647 h 4763"/>
              <a:gd name="T76" fmla="*/ 2147483647 w 1850"/>
              <a:gd name="T77" fmla="*/ 2147483647 h 4763"/>
              <a:gd name="T78" fmla="*/ 2147483647 w 1850"/>
              <a:gd name="T79" fmla="*/ 2147483647 h 4763"/>
              <a:gd name="T80" fmla="*/ 2147483647 w 1850"/>
              <a:gd name="T81" fmla="*/ 2147483647 h 4763"/>
              <a:gd name="T82" fmla="*/ 2147483647 w 1850"/>
              <a:gd name="T83" fmla="*/ 2147483647 h 4763"/>
              <a:gd name="T84" fmla="*/ 2147483647 w 1850"/>
              <a:gd name="T85" fmla="*/ 2147483647 h 4763"/>
              <a:gd name="T86" fmla="*/ 2147483647 w 1850"/>
              <a:gd name="T87" fmla="*/ 2147483647 h 4763"/>
              <a:gd name="T88" fmla="*/ 2147483647 w 1850"/>
              <a:gd name="T89" fmla="*/ 2147483647 h 4763"/>
              <a:gd name="T90" fmla="*/ 2147483647 w 1850"/>
              <a:gd name="T91" fmla="*/ 2147483647 h 4763"/>
              <a:gd name="T92" fmla="*/ 2147483647 w 1850"/>
              <a:gd name="T93" fmla="*/ 2147483647 h 4763"/>
              <a:gd name="T94" fmla="*/ 2147483647 w 1850"/>
              <a:gd name="T95" fmla="*/ 2147483647 h 4763"/>
              <a:gd name="T96" fmla="*/ 2147483647 w 1850"/>
              <a:gd name="T97" fmla="*/ 2147483647 h 4763"/>
              <a:gd name="T98" fmla="*/ 2147483647 w 1850"/>
              <a:gd name="T99" fmla="*/ 2147483647 h 4763"/>
              <a:gd name="T100" fmla="*/ 2147483647 w 1850"/>
              <a:gd name="T101" fmla="*/ 2147483647 h 4763"/>
              <a:gd name="T102" fmla="*/ 2147483647 w 1850"/>
              <a:gd name="T103" fmla="*/ 2147483647 h 4763"/>
              <a:gd name="T104" fmla="*/ 2147483647 w 1850"/>
              <a:gd name="T105" fmla="*/ 2147483647 h 4763"/>
              <a:gd name="T106" fmla="*/ 2147483647 w 1850"/>
              <a:gd name="T107" fmla="*/ 2147483647 h 4763"/>
              <a:gd name="T108" fmla="*/ 2147483647 w 1850"/>
              <a:gd name="T109" fmla="*/ 2147483647 h 4763"/>
              <a:gd name="T110" fmla="*/ 2147483647 w 1850"/>
              <a:gd name="T111" fmla="*/ 2147483647 h 4763"/>
              <a:gd name="T112" fmla="*/ 2147483647 w 1850"/>
              <a:gd name="T113" fmla="*/ 2147483647 h 4763"/>
              <a:gd name="T114" fmla="*/ 2147483647 w 1850"/>
              <a:gd name="T115" fmla="*/ 2147483647 h 4763"/>
              <a:gd name="T116" fmla="*/ 2147483647 w 1850"/>
              <a:gd name="T117" fmla="*/ 2147483647 h 4763"/>
              <a:gd name="T118" fmla="*/ 2147483647 w 185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50"/>
              <a:gd name="T181" fmla="*/ 0 h 4763"/>
              <a:gd name="T182" fmla="*/ 1850 w 185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50" h="4763">
                <a:moveTo>
                  <a:pt x="352" y="3267"/>
                </a:moveTo>
                <a:lnTo>
                  <a:pt x="153" y="3107"/>
                </a:lnTo>
                <a:lnTo>
                  <a:pt x="70" y="2776"/>
                </a:lnTo>
                <a:lnTo>
                  <a:pt x="123" y="2776"/>
                </a:lnTo>
                <a:lnTo>
                  <a:pt x="200" y="3077"/>
                </a:lnTo>
                <a:lnTo>
                  <a:pt x="348" y="3198"/>
                </a:lnTo>
                <a:lnTo>
                  <a:pt x="326" y="2724"/>
                </a:lnTo>
                <a:lnTo>
                  <a:pt x="271" y="2724"/>
                </a:lnTo>
                <a:lnTo>
                  <a:pt x="110" y="2724"/>
                </a:lnTo>
                <a:lnTo>
                  <a:pt x="57" y="2724"/>
                </a:lnTo>
                <a:lnTo>
                  <a:pt x="0" y="2724"/>
                </a:lnTo>
                <a:lnTo>
                  <a:pt x="0" y="1160"/>
                </a:lnTo>
                <a:lnTo>
                  <a:pt x="0" y="1139"/>
                </a:lnTo>
                <a:lnTo>
                  <a:pt x="4" y="1121"/>
                </a:lnTo>
                <a:lnTo>
                  <a:pt x="9" y="1103"/>
                </a:lnTo>
                <a:lnTo>
                  <a:pt x="16" y="1087"/>
                </a:lnTo>
                <a:lnTo>
                  <a:pt x="23" y="1073"/>
                </a:lnTo>
                <a:lnTo>
                  <a:pt x="34" y="1059"/>
                </a:lnTo>
                <a:lnTo>
                  <a:pt x="45" y="1047"/>
                </a:lnTo>
                <a:lnTo>
                  <a:pt x="57" y="1035"/>
                </a:lnTo>
                <a:lnTo>
                  <a:pt x="71" y="1025"/>
                </a:lnTo>
                <a:lnTo>
                  <a:pt x="87" y="1016"/>
                </a:lnTo>
                <a:lnTo>
                  <a:pt x="103" y="1007"/>
                </a:lnTo>
                <a:lnTo>
                  <a:pt x="121" y="998"/>
                </a:lnTo>
                <a:lnTo>
                  <a:pt x="157" y="982"/>
                </a:lnTo>
                <a:lnTo>
                  <a:pt x="196" y="968"/>
                </a:lnTo>
                <a:lnTo>
                  <a:pt x="592" y="823"/>
                </a:lnTo>
                <a:lnTo>
                  <a:pt x="719" y="1576"/>
                </a:lnTo>
                <a:lnTo>
                  <a:pt x="780" y="1033"/>
                </a:lnTo>
                <a:lnTo>
                  <a:pt x="766" y="1025"/>
                </a:lnTo>
                <a:lnTo>
                  <a:pt x="753" y="1016"/>
                </a:lnTo>
                <a:lnTo>
                  <a:pt x="741" y="1004"/>
                </a:lnTo>
                <a:lnTo>
                  <a:pt x="732" y="991"/>
                </a:lnTo>
                <a:lnTo>
                  <a:pt x="831" y="898"/>
                </a:lnTo>
                <a:lnTo>
                  <a:pt x="930" y="991"/>
                </a:lnTo>
                <a:lnTo>
                  <a:pt x="920" y="1004"/>
                </a:lnTo>
                <a:lnTo>
                  <a:pt x="909" y="1016"/>
                </a:lnTo>
                <a:lnTo>
                  <a:pt x="897" y="1025"/>
                </a:lnTo>
                <a:lnTo>
                  <a:pt x="883" y="1033"/>
                </a:lnTo>
                <a:lnTo>
                  <a:pt x="943" y="1576"/>
                </a:lnTo>
                <a:lnTo>
                  <a:pt x="1070" y="823"/>
                </a:lnTo>
                <a:lnTo>
                  <a:pt x="1466" y="968"/>
                </a:lnTo>
                <a:lnTo>
                  <a:pt x="1505" y="982"/>
                </a:lnTo>
                <a:lnTo>
                  <a:pt x="1540" y="998"/>
                </a:lnTo>
                <a:lnTo>
                  <a:pt x="1555" y="1007"/>
                </a:lnTo>
                <a:lnTo>
                  <a:pt x="1571" y="1016"/>
                </a:lnTo>
                <a:lnTo>
                  <a:pt x="1584" y="1025"/>
                </a:lnTo>
                <a:lnTo>
                  <a:pt x="1597" y="1037"/>
                </a:lnTo>
                <a:lnTo>
                  <a:pt x="1610" y="1047"/>
                </a:lnTo>
                <a:lnTo>
                  <a:pt x="1620" y="1060"/>
                </a:lnTo>
                <a:lnTo>
                  <a:pt x="1631" y="1073"/>
                </a:lnTo>
                <a:lnTo>
                  <a:pt x="1638" y="1087"/>
                </a:lnTo>
                <a:lnTo>
                  <a:pt x="1646" y="1104"/>
                </a:lnTo>
                <a:lnTo>
                  <a:pt x="1653" y="1121"/>
                </a:lnTo>
                <a:lnTo>
                  <a:pt x="1658" y="1139"/>
                </a:lnTo>
                <a:lnTo>
                  <a:pt x="1663" y="1160"/>
                </a:lnTo>
                <a:lnTo>
                  <a:pt x="1842" y="2208"/>
                </a:lnTo>
                <a:lnTo>
                  <a:pt x="1422" y="2208"/>
                </a:lnTo>
                <a:lnTo>
                  <a:pt x="1449" y="2260"/>
                </a:lnTo>
                <a:lnTo>
                  <a:pt x="1850" y="2260"/>
                </a:lnTo>
                <a:lnTo>
                  <a:pt x="1850" y="2321"/>
                </a:lnTo>
                <a:lnTo>
                  <a:pt x="1733" y="2321"/>
                </a:lnTo>
                <a:lnTo>
                  <a:pt x="1422" y="2321"/>
                </a:lnTo>
                <a:lnTo>
                  <a:pt x="1340" y="2163"/>
                </a:lnTo>
                <a:lnTo>
                  <a:pt x="1333" y="2154"/>
                </a:lnTo>
                <a:lnTo>
                  <a:pt x="1328" y="2144"/>
                </a:lnTo>
                <a:lnTo>
                  <a:pt x="1322" y="2137"/>
                </a:lnTo>
                <a:lnTo>
                  <a:pt x="1315" y="2130"/>
                </a:lnTo>
                <a:lnTo>
                  <a:pt x="1301" y="2118"/>
                </a:lnTo>
                <a:lnTo>
                  <a:pt x="1287" y="2111"/>
                </a:lnTo>
                <a:lnTo>
                  <a:pt x="1272" y="2105"/>
                </a:lnTo>
                <a:lnTo>
                  <a:pt x="1258" y="2103"/>
                </a:lnTo>
                <a:lnTo>
                  <a:pt x="1244" y="2102"/>
                </a:lnTo>
                <a:lnTo>
                  <a:pt x="1229" y="2104"/>
                </a:lnTo>
                <a:lnTo>
                  <a:pt x="1215" y="2107"/>
                </a:lnTo>
                <a:lnTo>
                  <a:pt x="1203" y="2111"/>
                </a:lnTo>
                <a:lnTo>
                  <a:pt x="1192" y="2116"/>
                </a:lnTo>
                <a:lnTo>
                  <a:pt x="1183" y="2122"/>
                </a:lnTo>
                <a:lnTo>
                  <a:pt x="1174" y="2129"/>
                </a:lnTo>
                <a:lnTo>
                  <a:pt x="1168" y="2135"/>
                </a:lnTo>
                <a:lnTo>
                  <a:pt x="1165" y="2141"/>
                </a:lnTo>
                <a:lnTo>
                  <a:pt x="1162" y="2147"/>
                </a:lnTo>
                <a:lnTo>
                  <a:pt x="1157" y="2387"/>
                </a:lnTo>
                <a:lnTo>
                  <a:pt x="1157" y="2402"/>
                </a:lnTo>
                <a:lnTo>
                  <a:pt x="1159" y="2415"/>
                </a:lnTo>
                <a:lnTo>
                  <a:pt x="1162" y="2428"/>
                </a:lnTo>
                <a:lnTo>
                  <a:pt x="1166" y="2439"/>
                </a:lnTo>
                <a:lnTo>
                  <a:pt x="1171" y="2450"/>
                </a:lnTo>
                <a:lnTo>
                  <a:pt x="1176" y="2460"/>
                </a:lnTo>
                <a:lnTo>
                  <a:pt x="1184" y="2469"/>
                </a:lnTo>
                <a:lnTo>
                  <a:pt x="1192" y="2478"/>
                </a:lnTo>
                <a:lnTo>
                  <a:pt x="1200" y="2486"/>
                </a:lnTo>
                <a:lnTo>
                  <a:pt x="1210" y="2494"/>
                </a:lnTo>
                <a:lnTo>
                  <a:pt x="1220" y="2500"/>
                </a:lnTo>
                <a:lnTo>
                  <a:pt x="1231" y="2506"/>
                </a:lnTo>
                <a:lnTo>
                  <a:pt x="1242" y="2511"/>
                </a:lnTo>
                <a:lnTo>
                  <a:pt x="1254" y="2516"/>
                </a:lnTo>
                <a:lnTo>
                  <a:pt x="1279" y="2522"/>
                </a:lnTo>
                <a:lnTo>
                  <a:pt x="1305" y="2526"/>
                </a:lnTo>
                <a:lnTo>
                  <a:pt x="1332" y="2528"/>
                </a:lnTo>
                <a:lnTo>
                  <a:pt x="1359" y="2526"/>
                </a:lnTo>
                <a:lnTo>
                  <a:pt x="1385" y="2522"/>
                </a:lnTo>
                <a:lnTo>
                  <a:pt x="1411" y="2515"/>
                </a:lnTo>
                <a:lnTo>
                  <a:pt x="1437" y="2506"/>
                </a:lnTo>
                <a:lnTo>
                  <a:pt x="1459" y="2495"/>
                </a:lnTo>
                <a:lnTo>
                  <a:pt x="1471" y="2489"/>
                </a:lnTo>
                <a:lnTo>
                  <a:pt x="1480" y="2481"/>
                </a:lnTo>
                <a:lnTo>
                  <a:pt x="1620" y="2373"/>
                </a:lnTo>
                <a:lnTo>
                  <a:pt x="1705" y="2373"/>
                </a:lnTo>
                <a:lnTo>
                  <a:pt x="1512" y="2522"/>
                </a:lnTo>
                <a:lnTo>
                  <a:pt x="1498" y="2532"/>
                </a:lnTo>
                <a:lnTo>
                  <a:pt x="1483" y="2541"/>
                </a:lnTo>
                <a:lnTo>
                  <a:pt x="1464" y="2548"/>
                </a:lnTo>
                <a:lnTo>
                  <a:pt x="1446" y="2556"/>
                </a:lnTo>
                <a:lnTo>
                  <a:pt x="1345" y="4763"/>
                </a:lnTo>
                <a:lnTo>
                  <a:pt x="909" y="4763"/>
                </a:lnTo>
                <a:lnTo>
                  <a:pt x="909" y="2771"/>
                </a:lnTo>
                <a:lnTo>
                  <a:pt x="857" y="2771"/>
                </a:lnTo>
                <a:lnTo>
                  <a:pt x="857" y="4763"/>
                </a:lnTo>
                <a:lnTo>
                  <a:pt x="421" y="4763"/>
                </a:lnTo>
                <a:lnTo>
                  <a:pt x="352" y="3267"/>
                </a:lnTo>
                <a:close/>
                <a:moveTo>
                  <a:pt x="1106" y="2321"/>
                </a:moveTo>
                <a:lnTo>
                  <a:pt x="645" y="2321"/>
                </a:lnTo>
                <a:lnTo>
                  <a:pt x="645" y="2372"/>
                </a:lnTo>
                <a:lnTo>
                  <a:pt x="1105" y="2372"/>
                </a:lnTo>
                <a:lnTo>
                  <a:pt x="1106" y="2321"/>
                </a:lnTo>
                <a:close/>
                <a:moveTo>
                  <a:pt x="1109" y="2208"/>
                </a:moveTo>
                <a:lnTo>
                  <a:pt x="645" y="2208"/>
                </a:lnTo>
                <a:lnTo>
                  <a:pt x="645" y="2260"/>
                </a:lnTo>
                <a:lnTo>
                  <a:pt x="1107" y="2260"/>
                </a:lnTo>
                <a:lnTo>
                  <a:pt x="1109" y="2208"/>
                </a:lnTo>
                <a:close/>
                <a:moveTo>
                  <a:pt x="1393" y="2152"/>
                </a:moveTo>
                <a:lnTo>
                  <a:pt x="1773" y="2152"/>
                </a:lnTo>
                <a:lnTo>
                  <a:pt x="1606" y="1820"/>
                </a:lnTo>
                <a:lnTo>
                  <a:pt x="660" y="1820"/>
                </a:lnTo>
                <a:lnTo>
                  <a:pt x="640" y="2152"/>
                </a:lnTo>
                <a:lnTo>
                  <a:pt x="1110" y="2152"/>
                </a:lnTo>
                <a:lnTo>
                  <a:pt x="1110" y="2146"/>
                </a:lnTo>
                <a:lnTo>
                  <a:pt x="1111" y="2134"/>
                </a:lnTo>
                <a:lnTo>
                  <a:pt x="1114" y="2124"/>
                </a:lnTo>
                <a:lnTo>
                  <a:pt x="1116" y="2115"/>
                </a:lnTo>
                <a:lnTo>
                  <a:pt x="1120" y="2105"/>
                </a:lnTo>
                <a:lnTo>
                  <a:pt x="1126" y="2096"/>
                </a:lnTo>
                <a:lnTo>
                  <a:pt x="1132" y="2089"/>
                </a:lnTo>
                <a:lnTo>
                  <a:pt x="1139" y="2082"/>
                </a:lnTo>
                <a:lnTo>
                  <a:pt x="1146" y="2076"/>
                </a:lnTo>
                <a:lnTo>
                  <a:pt x="1154" y="2070"/>
                </a:lnTo>
                <a:lnTo>
                  <a:pt x="1163" y="2065"/>
                </a:lnTo>
                <a:lnTo>
                  <a:pt x="1172" y="2061"/>
                </a:lnTo>
                <a:lnTo>
                  <a:pt x="1183" y="2059"/>
                </a:lnTo>
                <a:lnTo>
                  <a:pt x="1203" y="2054"/>
                </a:lnTo>
                <a:lnTo>
                  <a:pt x="1226" y="2052"/>
                </a:lnTo>
                <a:lnTo>
                  <a:pt x="1249" y="2054"/>
                </a:lnTo>
                <a:lnTo>
                  <a:pt x="1271" y="2057"/>
                </a:lnTo>
                <a:lnTo>
                  <a:pt x="1294" y="2064"/>
                </a:lnTo>
                <a:lnTo>
                  <a:pt x="1316" y="2073"/>
                </a:lnTo>
                <a:lnTo>
                  <a:pt x="1327" y="2078"/>
                </a:lnTo>
                <a:lnTo>
                  <a:pt x="1337" y="2085"/>
                </a:lnTo>
                <a:lnTo>
                  <a:pt x="1346" y="2092"/>
                </a:lnTo>
                <a:lnTo>
                  <a:pt x="1355" y="2100"/>
                </a:lnTo>
                <a:lnTo>
                  <a:pt x="1364" y="2108"/>
                </a:lnTo>
                <a:lnTo>
                  <a:pt x="1372" y="2117"/>
                </a:lnTo>
                <a:lnTo>
                  <a:pt x="1379" y="2128"/>
                </a:lnTo>
                <a:lnTo>
                  <a:pt x="1385" y="2138"/>
                </a:lnTo>
                <a:lnTo>
                  <a:pt x="1393" y="2152"/>
                </a:lnTo>
                <a:close/>
                <a:moveTo>
                  <a:pt x="1114" y="504"/>
                </a:moveTo>
                <a:lnTo>
                  <a:pt x="1114" y="504"/>
                </a:lnTo>
                <a:lnTo>
                  <a:pt x="1109" y="531"/>
                </a:lnTo>
                <a:lnTo>
                  <a:pt x="1102" y="557"/>
                </a:lnTo>
                <a:lnTo>
                  <a:pt x="1093" y="583"/>
                </a:lnTo>
                <a:lnTo>
                  <a:pt x="1081" y="607"/>
                </a:lnTo>
                <a:lnTo>
                  <a:pt x="1068" y="630"/>
                </a:lnTo>
                <a:lnTo>
                  <a:pt x="1054" y="651"/>
                </a:lnTo>
                <a:lnTo>
                  <a:pt x="1039" y="672"/>
                </a:lnTo>
                <a:lnTo>
                  <a:pt x="1022" y="690"/>
                </a:lnTo>
                <a:lnTo>
                  <a:pt x="1002" y="707"/>
                </a:lnTo>
                <a:lnTo>
                  <a:pt x="981" y="721"/>
                </a:lnTo>
                <a:lnTo>
                  <a:pt x="961" y="734"/>
                </a:lnTo>
                <a:lnTo>
                  <a:pt x="939" y="746"/>
                </a:lnTo>
                <a:lnTo>
                  <a:pt x="914" y="755"/>
                </a:lnTo>
                <a:lnTo>
                  <a:pt x="889" y="760"/>
                </a:lnTo>
                <a:lnTo>
                  <a:pt x="865" y="764"/>
                </a:lnTo>
                <a:lnTo>
                  <a:pt x="839" y="765"/>
                </a:lnTo>
                <a:lnTo>
                  <a:pt x="813" y="764"/>
                </a:lnTo>
                <a:lnTo>
                  <a:pt x="787" y="760"/>
                </a:lnTo>
                <a:lnTo>
                  <a:pt x="762" y="753"/>
                </a:lnTo>
                <a:lnTo>
                  <a:pt x="739" y="746"/>
                </a:lnTo>
                <a:lnTo>
                  <a:pt x="715" y="734"/>
                </a:lnTo>
                <a:lnTo>
                  <a:pt x="695" y="721"/>
                </a:lnTo>
                <a:lnTo>
                  <a:pt x="674" y="707"/>
                </a:lnTo>
                <a:lnTo>
                  <a:pt x="656" y="690"/>
                </a:lnTo>
                <a:lnTo>
                  <a:pt x="637" y="670"/>
                </a:lnTo>
                <a:lnTo>
                  <a:pt x="622" y="651"/>
                </a:lnTo>
                <a:lnTo>
                  <a:pt x="608" y="629"/>
                </a:lnTo>
                <a:lnTo>
                  <a:pt x="595" y="607"/>
                </a:lnTo>
                <a:lnTo>
                  <a:pt x="584" y="582"/>
                </a:lnTo>
                <a:lnTo>
                  <a:pt x="575" y="557"/>
                </a:lnTo>
                <a:lnTo>
                  <a:pt x="567" y="530"/>
                </a:lnTo>
                <a:lnTo>
                  <a:pt x="563" y="503"/>
                </a:lnTo>
                <a:lnTo>
                  <a:pt x="557" y="492"/>
                </a:lnTo>
                <a:lnTo>
                  <a:pt x="552" y="479"/>
                </a:lnTo>
                <a:lnTo>
                  <a:pt x="547" y="468"/>
                </a:lnTo>
                <a:lnTo>
                  <a:pt x="543" y="455"/>
                </a:lnTo>
                <a:lnTo>
                  <a:pt x="540" y="442"/>
                </a:lnTo>
                <a:lnTo>
                  <a:pt x="537" y="427"/>
                </a:lnTo>
                <a:lnTo>
                  <a:pt x="536" y="413"/>
                </a:lnTo>
                <a:lnTo>
                  <a:pt x="536" y="397"/>
                </a:lnTo>
                <a:lnTo>
                  <a:pt x="536" y="179"/>
                </a:lnTo>
                <a:lnTo>
                  <a:pt x="537" y="168"/>
                </a:lnTo>
                <a:lnTo>
                  <a:pt x="540" y="156"/>
                </a:lnTo>
                <a:lnTo>
                  <a:pt x="544" y="143"/>
                </a:lnTo>
                <a:lnTo>
                  <a:pt x="549" y="131"/>
                </a:lnTo>
                <a:lnTo>
                  <a:pt x="557" y="119"/>
                </a:lnTo>
                <a:lnTo>
                  <a:pt x="566" y="109"/>
                </a:lnTo>
                <a:lnTo>
                  <a:pt x="575" y="97"/>
                </a:lnTo>
                <a:lnTo>
                  <a:pt x="587" y="87"/>
                </a:lnTo>
                <a:lnTo>
                  <a:pt x="598" y="77"/>
                </a:lnTo>
                <a:lnTo>
                  <a:pt x="613" y="68"/>
                </a:lnTo>
                <a:lnTo>
                  <a:pt x="626" y="58"/>
                </a:lnTo>
                <a:lnTo>
                  <a:pt x="641" y="49"/>
                </a:lnTo>
                <a:lnTo>
                  <a:pt x="657" y="42"/>
                </a:lnTo>
                <a:lnTo>
                  <a:pt x="672" y="34"/>
                </a:lnTo>
                <a:lnTo>
                  <a:pt x="689" y="27"/>
                </a:lnTo>
                <a:lnTo>
                  <a:pt x="708" y="21"/>
                </a:lnTo>
                <a:lnTo>
                  <a:pt x="724" y="16"/>
                </a:lnTo>
                <a:lnTo>
                  <a:pt x="743" y="10"/>
                </a:lnTo>
                <a:lnTo>
                  <a:pt x="759" y="6"/>
                </a:lnTo>
                <a:lnTo>
                  <a:pt x="778" y="4"/>
                </a:lnTo>
                <a:lnTo>
                  <a:pt x="796" y="1"/>
                </a:lnTo>
                <a:lnTo>
                  <a:pt x="813" y="0"/>
                </a:lnTo>
                <a:lnTo>
                  <a:pt x="831" y="0"/>
                </a:lnTo>
                <a:lnTo>
                  <a:pt x="848" y="1"/>
                </a:lnTo>
                <a:lnTo>
                  <a:pt x="865" y="3"/>
                </a:lnTo>
                <a:lnTo>
                  <a:pt x="880" y="5"/>
                </a:lnTo>
                <a:lnTo>
                  <a:pt x="896" y="9"/>
                </a:lnTo>
                <a:lnTo>
                  <a:pt x="910" y="16"/>
                </a:lnTo>
                <a:lnTo>
                  <a:pt x="924" y="22"/>
                </a:lnTo>
                <a:lnTo>
                  <a:pt x="937" y="30"/>
                </a:lnTo>
                <a:lnTo>
                  <a:pt x="949" y="39"/>
                </a:lnTo>
                <a:lnTo>
                  <a:pt x="959" y="49"/>
                </a:lnTo>
                <a:lnTo>
                  <a:pt x="971" y="45"/>
                </a:lnTo>
                <a:lnTo>
                  <a:pt x="983" y="42"/>
                </a:lnTo>
                <a:lnTo>
                  <a:pt x="993" y="39"/>
                </a:lnTo>
                <a:lnTo>
                  <a:pt x="1004" y="38"/>
                </a:lnTo>
                <a:lnTo>
                  <a:pt x="1014" y="38"/>
                </a:lnTo>
                <a:lnTo>
                  <a:pt x="1023" y="38"/>
                </a:lnTo>
                <a:lnTo>
                  <a:pt x="1032" y="39"/>
                </a:lnTo>
                <a:lnTo>
                  <a:pt x="1041" y="40"/>
                </a:lnTo>
                <a:lnTo>
                  <a:pt x="1049" y="43"/>
                </a:lnTo>
                <a:lnTo>
                  <a:pt x="1057" y="47"/>
                </a:lnTo>
                <a:lnTo>
                  <a:pt x="1065" y="51"/>
                </a:lnTo>
                <a:lnTo>
                  <a:pt x="1072" y="55"/>
                </a:lnTo>
                <a:lnTo>
                  <a:pt x="1085" y="66"/>
                </a:lnTo>
                <a:lnTo>
                  <a:pt x="1097" y="81"/>
                </a:lnTo>
                <a:lnTo>
                  <a:pt x="1107" y="97"/>
                </a:lnTo>
                <a:lnTo>
                  <a:pt x="1116" y="116"/>
                </a:lnTo>
                <a:lnTo>
                  <a:pt x="1124" y="135"/>
                </a:lnTo>
                <a:lnTo>
                  <a:pt x="1131" y="157"/>
                </a:lnTo>
                <a:lnTo>
                  <a:pt x="1135" y="181"/>
                </a:lnTo>
                <a:lnTo>
                  <a:pt x="1139" y="205"/>
                </a:lnTo>
                <a:lnTo>
                  <a:pt x="1140" y="230"/>
                </a:lnTo>
                <a:lnTo>
                  <a:pt x="1141" y="257"/>
                </a:lnTo>
                <a:lnTo>
                  <a:pt x="1141" y="397"/>
                </a:lnTo>
                <a:lnTo>
                  <a:pt x="1140" y="413"/>
                </a:lnTo>
                <a:lnTo>
                  <a:pt x="1139" y="427"/>
                </a:lnTo>
                <a:lnTo>
                  <a:pt x="1137" y="442"/>
                </a:lnTo>
                <a:lnTo>
                  <a:pt x="1133" y="455"/>
                </a:lnTo>
                <a:lnTo>
                  <a:pt x="1129" y="468"/>
                </a:lnTo>
                <a:lnTo>
                  <a:pt x="1126" y="481"/>
                </a:lnTo>
                <a:lnTo>
                  <a:pt x="1120" y="492"/>
                </a:lnTo>
                <a:lnTo>
                  <a:pt x="1114" y="504"/>
                </a:lnTo>
                <a:close/>
                <a:moveTo>
                  <a:pt x="619" y="313"/>
                </a:moveTo>
                <a:lnTo>
                  <a:pt x="619" y="313"/>
                </a:lnTo>
                <a:lnTo>
                  <a:pt x="615" y="329"/>
                </a:lnTo>
                <a:lnTo>
                  <a:pt x="613" y="346"/>
                </a:lnTo>
                <a:lnTo>
                  <a:pt x="611" y="362"/>
                </a:lnTo>
                <a:lnTo>
                  <a:pt x="611" y="379"/>
                </a:lnTo>
                <a:lnTo>
                  <a:pt x="611" y="455"/>
                </a:lnTo>
                <a:lnTo>
                  <a:pt x="611" y="471"/>
                </a:lnTo>
                <a:lnTo>
                  <a:pt x="613" y="488"/>
                </a:lnTo>
                <a:lnTo>
                  <a:pt x="615" y="505"/>
                </a:lnTo>
                <a:lnTo>
                  <a:pt x="619" y="522"/>
                </a:lnTo>
                <a:lnTo>
                  <a:pt x="623" y="538"/>
                </a:lnTo>
                <a:lnTo>
                  <a:pt x="628" y="553"/>
                </a:lnTo>
                <a:lnTo>
                  <a:pt x="635" y="569"/>
                </a:lnTo>
                <a:lnTo>
                  <a:pt x="641" y="583"/>
                </a:lnTo>
                <a:lnTo>
                  <a:pt x="649" y="597"/>
                </a:lnTo>
                <a:lnTo>
                  <a:pt x="657" y="610"/>
                </a:lnTo>
                <a:lnTo>
                  <a:pt x="667" y="625"/>
                </a:lnTo>
                <a:lnTo>
                  <a:pt x="676" y="636"/>
                </a:lnTo>
                <a:lnTo>
                  <a:pt x="688" y="648"/>
                </a:lnTo>
                <a:lnTo>
                  <a:pt x="698" y="659"/>
                </a:lnTo>
                <a:lnTo>
                  <a:pt x="711" y="669"/>
                </a:lnTo>
                <a:lnTo>
                  <a:pt x="723" y="678"/>
                </a:lnTo>
                <a:lnTo>
                  <a:pt x="736" y="686"/>
                </a:lnTo>
                <a:lnTo>
                  <a:pt x="750" y="694"/>
                </a:lnTo>
                <a:lnTo>
                  <a:pt x="763" y="699"/>
                </a:lnTo>
                <a:lnTo>
                  <a:pt x="778" y="704"/>
                </a:lnTo>
                <a:lnTo>
                  <a:pt x="793" y="708"/>
                </a:lnTo>
                <a:lnTo>
                  <a:pt x="808" y="712"/>
                </a:lnTo>
                <a:lnTo>
                  <a:pt x="823" y="713"/>
                </a:lnTo>
                <a:lnTo>
                  <a:pt x="839" y="713"/>
                </a:lnTo>
                <a:lnTo>
                  <a:pt x="854" y="713"/>
                </a:lnTo>
                <a:lnTo>
                  <a:pt x="869" y="712"/>
                </a:lnTo>
                <a:lnTo>
                  <a:pt x="884" y="708"/>
                </a:lnTo>
                <a:lnTo>
                  <a:pt x="898" y="704"/>
                </a:lnTo>
                <a:lnTo>
                  <a:pt x="913" y="699"/>
                </a:lnTo>
                <a:lnTo>
                  <a:pt x="927" y="694"/>
                </a:lnTo>
                <a:lnTo>
                  <a:pt x="940" y="686"/>
                </a:lnTo>
                <a:lnTo>
                  <a:pt x="953" y="678"/>
                </a:lnTo>
                <a:lnTo>
                  <a:pt x="966" y="669"/>
                </a:lnTo>
                <a:lnTo>
                  <a:pt x="978" y="660"/>
                </a:lnTo>
                <a:lnTo>
                  <a:pt x="988" y="648"/>
                </a:lnTo>
                <a:lnTo>
                  <a:pt x="1000" y="638"/>
                </a:lnTo>
                <a:lnTo>
                  <a:pt x="1009" y="625"/>
                </a:lnTo>
                <a:lnTo>
                  <a:pt x="1019" y="612"/>
                </a:lnTo>
                <a:lnTo>
                  <a:pt x="1027" y="599"/>
                </a:lnTo>
                <a:lnTo>
                  <a:pt x="1035" y="584"/>
                </a:lnTo>
                <a:lnTo>
                  <a:pt x="1042" y="569"/>
                </a:lnTo>
                <a:lnTo>
                  <a:pt x="1048" y="555"/>
                </a:lnTo>
                <a:lnTo>
                  <a:pt x="1053" y="539"/>
                </a:lnTo>
                <a:lnTo>
                  <a:pt x="1058" y="523"/>
                </a:lnTo>
                <a:lnTo>
                  <a:pt x="1061" y="507"/>
                </a:lnTo>
                <a:lnTo>
                  <a:pt x="1063" y="490"/>
                </a:lnTo>
                <a:lnTo>
                  <a:pt x="1065" y="471"/>
                </a:lnTo>
                <a:lnTo>
                  <a:pt x="1066" y="455"/>
                </a:lnTo>
                <a:lnTo>
                  <a:pt x="1066" y="379"/>
                </a:lnTo>
                <a:lnTo>
                  <a:pt x="1065" y="349"/>
                </a:lnTo>
                <a:lnTo>
                  <a:pt x="1059" y="320"/>
                </a:lnTo>
                <a:lnTo>
                  <a:pt x="1053" y="292"/>
                </a:lnTo>
                <a:lnTo>
                  <a:pt x="1042" y="266"/>
                </a:lnTo>
                <a:lnTo>
                  <a:pt x="1031" y="242"/>
                </a:lnTo>
                <a:lnTo>
                  <a:pt x="1017" y="218"/>
                </a:lnTo>
                <a:lnTo>
                  <a:pt x="1001" y="197"/>
                </a:lnTo>
                <a:lnTo>
                  <a:pt x="983" y="179"/>
                </a:lnTo>
                <a:lnTo>
                  <a:pt x="940" y="200"/>
                </a:lnTo>
                <a:lnTo>
                  <a:pt x="896" y="221"/>
                </a:lnTo>
                <a:lnTo>
                  <a:pt x="850" y="239"/>
                </a:lnTo>
                <a:lnTo>
                  <a:pt x="806" y="256"/>
                </a:lnTo>
                <a:lnTo>
                  <a:pt x="759" y="273"/>
                </a:lnTo>
                <a:lnTo>
                  <a:pt x="714" y="287"/>
                </a:lnTo>
                <a:lnTo>
                  <a:pt x="666" y="300"/>
                </a:lnTo>
                <a:lnTo>
                  <a:pt x="619" y="31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+mn-lt"/>
            </a:endParaRPr>
          </a:p>
        </p:txBody>
      </p:sp>
      <p:sp>
        <p:nvSpPr>
          <p:cNvPr id="28" name="Freeform 100"/>
          <p:cNvSpPr>
            <a:spLocks noChangeAspect="1" noEditPoints="1"/>
          </p:cNvSpPr>
          <p:nvPr/>
        </p:nvSpPr>
        <p:spPr bwMode="auto">
          <a:xfrm>
            <a:off x="2183487" y="4503760"/>
            <a:ext cx="298519" cy="831259"/>
          </a:xfrm>
          <a:custGeom>
            <a:avLst/>
            <a:gdLst>
              <a:gd name="T0" fmla="*/ 2147483647 w 1850"/>
              <a:gd name="T1" fmla="*/ 2147483647 h 4763"/>
              <a:gd name="T2" fmla="*/ 0 w 1850"/>
              <a:gd name="T3" fmla="*/ 2147483647 h 4763"/>
              <a:gd name="T4" fmla="*/ 2147483647 w 1850"/>
              <a:gd name="T5" fmla="*/ 2147483647 h 4763"/>
              <a:gd name="T6" fmla="*/ 2147483647 w 1850"/>
              <a:gd name="T7" fmla="*/ 2147483647 h 4763"/>
              <a:gd name="T8" fmla="*/ 2147483647 w 1850"/>
              <a:gd name="T9" fmla="*/ 2147483647 h 4763"/>
              <a:gd name="T10" fmla="*/ 2147483647 w 1850"/>
              <a:gd name="T11" fmla="*/ 2147483647 h 4763"/>
              <a:gd name="T12" fmla="*/ 2147483647 w 1850"/>
              <a:gd name="T13" fmla="*/ 2147483647 h 4763"/>
              <a:gd name="T14" fmla="*/ 2147483647 w 1850"/>
              <a:gd name="T15" fmla="*/ 2147483647 h 4763"/>
              <a:gd name="T16" fmla="*/ 2147483647 w 1850"/>
              <a:gd name="T17" fmla="*/ 2147483647 h 4763"/>
              <a:gd name="T18" fmla="*/ 2147483647 w 1850"/>
              <a:gd name="T19" fmla="*/ 2147483647 h 4763"/>
              <a:gd name="T20" fmla="*/ 2147483647 w 1850"/>
              <a:gd name="T21" fmla="*/ 2147483647 h 4763"/>
              <a:gd name="T22" fmla="*/ 2147483647 w 1850"/>
              <a:gd name="T23" fmla="*/ 2147483647 h 4763"/>
              <a:gd name="T24" fmla="*/ 2147483647 w 1850"/>
              <a:gd name="T25" fmla="*/ 2147483647 h 4763"/>
              <a:gd name="T26" fmla="*/ 2147483647 w 1850"/>
              <a:gd name="T27" fmla="*/ 2147483647 h 4763"/>
              <a:gd name="T28" fmla="*/ 2147483647 w 1850"/>
              <a:gd name="T29" fmla="*/ 2147483647 h 4763"/>
              <a:gd name="T30" fmla="*/ 2147483647 w 1850"/>
              <a:gd name="T31" fmla="*/ 2147483647 h 4763"/>
              <a:gd name="T32" fmla="*/ 2147483647 w 1850"/>
              <a:gd name="T33" fmla="*/ 2147483647 h 4763"/>
              <a:gd name="T34" fmla="*/ 2147483647 w 1850"/>
              <a:gd name="T35" fmla="*/ 2147483647 h 4763"/>
              <a:gd name="T36" fmla="*/ 2147483647 w 1850"/>
              <a:gd name="T37" fmla="*/ 2147483647 h 4763"/>
              <a:gd name="T38" fmla="*/ 2147483647 w 1850"/>
              <a:gd name="T39" fmla="*/ 2147483647 h 4763"/>
              <a:gd name="T40" fmla="*/ 2147483647 w 1850"/>
              <a:gd name="T41" fmla="*/ 2147483647 h 4763"/>
              <a:gd name="T42" fmla="*/ 2147483647 w 1850"/>
              <a:gd name="T43" fmla="*/ 2147483647 h 4763"/>
              <a:gd name="T44" fmla="*/ 2147483647 w 1850"/>
              <a:gd name="T45" fmla="*/ 2147483647 h 4763"/>
              <a:gd name="T46" fmla="*/ 2147483647 w 1850"/>
              <a:gd name="T47" fmla="*/ 2147483647 h 4763"/>
              <a:gd name="T48" fmla="*/ 2147483647 w 1850"/>
              <a:gd name="T49" fmla="*/ 2147483647 h 4763"/>
              <a:gd name="T50" fmla="*/ 2147483647 w 1850"/>
              <a:gd name="T51" fmla="*/ 2147483647 h 4763"/>
              <a:gd name="T52" fmla="*/ 2147483647 w 1850"/>
              <a:gd name="T53" fmla="*/ 2147483647 h 4763"/>
              <a:gd name="T54" fmla="*/ 2147483647 w 1850"/>
              <a:gd name="T55" fmla="*/ 2147483647 h 4763"/>
              <a:gd name="T56" fmla="*/ 2147483647 w 1850"/>
              <a:gd name="T57" fmla="*/ 2147483647 h 4763"/>
              <a:gd name="T58" fmla="*/ 2147483647 w 1850"/>
              <a:gd name="T59" fmla="*/ 2147483647 h 4763"/>
              <a:gd name="T60" fmla="*/ 2147483647 w 1850"/>
              <a:gd name="T61" fmla="*/ 2147483647 h 4763"/>
              <a:gd name="T62" fmla="*/ 2147483647 w 1850"/>
              <a:gd name="T63" fmla="*/ 2147483647 h 4763"/>
              <a:gd name="T64" fmla="*/ 2147483647 w 1850"/>
              <a:gd name="T65" fmla="*/ 2147483647 h 4763"/>
              <a:gd name="T66" fmla="*/ 2147483647 w 1850"/>
              <a:gd name="T67" fmla="*/ 2147483647 h 4763"/>
              <a:gd name="T68" fmla="*/ 2147483647 w 1850"/>
              <a:gd name="T69" fmla="*/ 2147483647 h 4763"/>
              <a:gd name="T70" fmla="*/ 2147483647 w 1850"/>
              <a:gd name="T71" fmla="*/ 2147483647 h 4763"/>
              <a:gd name="T72" fmla="*/ 2147483647 w 1850"/>
              <a:gd name="T73" fmla="*/ 2147483647 h 4763"/>
              <a:gd name="T74" fmla="*/ 2147483647 w 1850"/>
              <a:gd name="T75" fmla="*/ 2147483647 h 4763"/>
              <a:gd name="T76" fmla="*/ 2147483647 w 1850"/>
              <a:gd name="T77" fmla="*/ 2147483647 h 4763"/>
              <a:gd name="T78" fmla="*/ 2147483647 w 1850"/>
              <a:gd name="T79" fmla="*/ 2147483647 h 4763"/>
              <a:gd name="T80" fmla="*/ 2147483647 w 1850"/>
              <a:gd name="T81" fmla="*/ 2147483647 h 4763"/>
              <a:gd name="T82" fmla="*/ 2147483647 w 1850"/>
              <a:gd name="T83" fmla="*/ 2147483647 h 4763"/>
              <a:gd name="T84" fmla="*/ 2147483647 w 1850"/>
              <a:gd name="T85" fmla="*/ 2147483647 h 4763"/>
              <a:gd name="T86" fmla="*/ 2147483647 w 1850"/>
              <a:gd name="T87" fmla="*/ 2147483647 h 4763"/>
              <a:gd name="T88" fmla="*/ 2147483647 w 1850"/>
              <a:gd name="T89" fmla="*/ 2147483647 h 4763"/>
              <a:gd name="T90" fmla="*/ 2147483647 w 1850"/>
              <a:gd name="T91" fmla="*/ 2147483647 h 4763"/>
              <a:gd name="T92" fmla="*/ 2147483647 w 1850"/>
              <a:gd name="T93" fmla="*/ 2147483647 h 4763"/>
              <a:gd name="T94" fmla="*/ 2147483647 w 1850"/>
              <a:gd name="T95" fmla="*/ 2147483647 h 4763"/>
              <a:gd name="T96" fmla="*/ 2147483647 w 1850"/>
              <a:gd name="T97" fmla="*/ 2147483647 h 4763"/>
              <a:gd name="T98" fmla="*/ 2147483647 w 1850"/>
              <a:gd name="T99" fmla="*/ 2147483647 h 4763"/>
              <a:gd name="T100" fmla="*/ 2147483647 w 1850"/>
              <a:gd name="T101" fmla="*/ 2147483647 h 4763"/>
              <a:gd name="T102" fmla="*/ 2147483647 w 1850"/>
              <a:gd name="T103" fmla="*/ 2147483647 h 4763"/>
              <a:gd name="T104" fmla="*/ 2147483647 w 1850"/>
              <a:gd name="T105" fmla="*/ 2147483647 h 4763"/>
              <a:gd name="T106" fmla="*/ 2147483647 w 1850"/>
              <a:gd name="T107" fmla="*/ 2147483647 h 4763"/>
              <a:gd name="T108" fmla="*/ 2147483647 w 1850"/>
              <a:gd name="T109" fmla="*/ 2147483647 h 4763"/>
              <a:gd name="T110" fmla="*/ 2147483647 w 1850"/>
              <a:gd name="T111" fmla="*/ 2147483647 h 4763"/>
              <a:gd name="T112" fmla="*/ 2147483647 w 1850"/>
              <a:gd name="T113" fmla="*/ 2147483647 h 4763"/>
              <a:gd name="T114" fmla="*/ 2147483647 w 1850"/>
              <a:gd name="T115" fmla="*/ 2147483647 h 4763"/>
              <a:gd name="T116" fmla="*/ 2147483647 w 1850"/>
              <a:gd name="T117" fmla="*/ 2147483647 h 4763"/>
              <a:gd name="T118" fmla="*/ 2147483647 w 185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50"/>
              <a:gd name="T181" fmla="*/ 0 h 4763"/>
              <a:gd name="T182" fmla="*/ 1850 w 185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50" h="4763">
                <a:moveTo>
                  <a:pt x="352" y="3267"/>
                </a:moveTo>
                <a:lnTo>
                  <a:pt x="153" y="3107"/>
                </a:lnTo>
                <a:lnTo>
                  <a:pt x="70" y="2776"/>
                </a:lnTo>
                <a:lnTo>
                  <a:pt x="123" y="2776"/>
                </a:lnTo>
                <a:lnTo>
                  <a:pt x="200" y="3077"/>
                </a:lnTo>
                <a:lnTo>
                  <a:pt x="348" y="3198"/>
                </a:lnTo>
                <a:lnTo>
                  <a:pt x="326" y="2724"/>
                </a:lnTo>
                <a:lnTo>
                  <a:pt x="271" y="2724"/>
                </a:lnTo>
                <a:lnTo>
                  <a:pt x="110" y="2724"/>
                </a:lnTo>
                <a:lnTo>
                  <a:pt x="57" y="2724"/>
                </a:lnTo>
                <a:lnTo>
                  <a:pt x="0" y="2724"/>
                </a:lnTo>
                <a:lnTo>
                  <a:pt x="0" y="1160"/>
                </a:lnTo>
                <a:lnTo>
                  <a:pt x="0" y="1139"/>
                </a:lnTo>
                <a:lnTo>
                  <a:pt x="4" y="1121"/>
                </a:lnTo>
                <a:lnTo>
                  <a:pt x="9" y="1103"/>
                </a:lnTo>
                <a:lnTo>
                  <a:pt x="16" y="1087"/>
                </a:lnTo>
                <a:lnTo>
                  <a:pt x="23" y="1073"/>
                </a:lnTo>
                <a:lnTo>
                  <a:pt x="34" y="1059"/>
                </a:lnTo>
                <a:lnTo>
                  <a:pt x="45" y="1047"/>
                </a:lnTo>
                <a:lnTo>
                  <a:pt x="57" y="1035"/>
                </a:lnTo>
                <a:lnTo>
                  <a:pt x="71" y="1025"/>
                </a:lnTo>
                <a:lnTo>
                  <a:pt x="87" y="1016"/>
                </a:lnTo>
                <a:lnTo>
                  <a:pt x="103" y="1007"/>
                </a:lnTo>
                <a:lnTo>
                  <a:pt x="121" y="998"/>
                </a:lnTo>
                <a:lnTo>
                  <a:pt x="157" y="982"/>
                </a:lnTo>
                <a:lnTo>
                  <a:pt x="196" y="968"/>
                </a:lnTo>
                <a:lnTo>
                  <a:pt x="592" y="823"/>
                </a:lnTo>
                <a:lnTo>
                  <a:pt x="719" y="1576"/>
                </a:lnTo>
                <a:lnTo>
                  <a:pt x="780" y="1033"/>
                </a:lnTo>
                <a:lnTo>
                  <a:pt x="766" y="1025"/>
                </a:lnTo>
                <a:lnTo>
                  <a:pt x="753" y="1016"/>
                </a:lnTo>
                <a:lnTo>
                  <a:pt x="741" y="1004"/>
                </a:lnTo>
                <a:lnTo>
                  <a:pt x="732" y="991"/>
                </a:lnTo>
                <a:lnTo>
                  <a:pt x="831" y="898"/>
                </a:lnTo>
                <a:lnTo>
                  <a:pt x="930" y="991"/>
                </a:lnTo>
                <a:lnTo>
                  <a:pt x="920" y="1004"/>
                </a:lnTo>
                <a:lnTo>
                  <a:pt x="909" y="1016"/>
                </a:lnTo>
                <a:lnTo>
                  <a:pt x="897" y="1025"/>
                </a:lnTo>
                <a:lnTo>
                  <a:pt x="883" y="1033"/>
                </a:lnTo>
                <a:lnTo>
                  <a:pt x="943" y="1576"/>
                </a:lnTo>
                <a:lnTo>
                  <a:pt x="1070" y="823"/>
                </a:lnTo>
                <a:lnTo>
                  <a:pt x="1466" y="968"/>
                </a:lnTo>
                <a:lnTo>
                  <a:pt x="1505" y="982"/>
                </a:lnTo>
                <a:lnTo>
                  <a:pt x="1540" y="998"/>
                </a:lnTo>
                <a:lnTo>
                  <a:pt x="1555" y="1007"/>
                </a:lnTo>
                <a:lnTo>
                  <a:pt x="1571" y="1016"/>
                </a:lnTo>
                <a:lnTo>
                  <a:pt x="1584" y="1025"/>
                </a:lnTo>
                <a:lnTo>
                  <a:pt x="1597" y="1037"/>
                </a:lnTo>
                <a:lnTo>
                  <a:pt x="1610" y="1047"/>
                </a:lnTo>
                <a:lnTo>
                  <a:pt x="1620" y="1060"/>
                </a:lnTo>
                <a:lnTo>
                  <a:pt x="1631" y="1073"/>
                </a:lnTo>
                <a:lnTo>
                  <a:pt x="1638" y="1087"/>
                </a:lnTo>
                <a:lnTo>
                  <a:pt x="1646" y="1104"/>
                </a:lnTo>
                <a:lnTo>
                  <a:pt x="1653" y="1121"/>
                </a:lnTo>
                <a:lnTo>
                  <a:pt x="1658" y="1139"/>
                </a:lnTo>
                <a:lnTo>
                  <a:pt x="1663" y="1160"/>
                </a:lnTo>
                <a:lnTo>
                  <a:pt x="1842" y="2208"/>
                </a:lnTo>
                <a:lnTo>
                  <a:pt x="1422" y="2208"/>
                </a:lnTo>
                <a:lnTo>
                  <a:pt x="1449" y="2260"/>
                </a:lnTo>
                <a:lnTo>
                  <a:pt x="1850" y="2260"/>
                </a:lnTo>
                <a:lnTo>
                  <a:pt x="1850" y="2321"/>
                </a:lnTo>
                <a:lnTo>
                  <a:pt x="1733" y="2321"/>
                </a:lnTo>
                <a:lnTo>
                  <a:pt x="1422" y="2321"/>
                </a:lnTo>
                <a:lnTo>
                  <a:pt x="1340" y="2163"/>
                </a:lnTo>
                <a:lnTo>
                  <a:pt x="1333" y="2154"/>
                </a:lnTo>
                <a:lnTo>
                  <a:pt x="1328" y="2144"/>
                </a:lnTo>
                <a:lnTo>
                  <a:pt x="1322" y="2137"/>
                </a:lnTo>
                <a:lnTo>
                  <a:pt x="1315" y="2130"/>
                </a:lnTo>
                <a:lnTo>
                  <a:pt x="1301" y="2118"/>
                </a:lnTo>
                <a:lnTo>
                  <a:pt x="1287" y="2111"/>
                </a:lnTo>
                <a:lnTo>
                  <a:pt x="1272" y="2105"/>
                </a:lnTo>
                <a:lnTo>
                  <a:pt x="1258" y="2103"/>
                </a:lnTo>
                <a:lnTo>
                  <a:pt x="1244" y="2102"/>
                </a:lnTo>
                <a:lnTo>
                  <a:pt x="1229" y="2104"/>
                </a:lnTo>
                <a:lnTo>
                  <a:pt x="1215" y="2107"/>
                </a:lnTo>
                <a:lnTo>
                  <a:pt x="1203" y="2111"/>
                </a:lnTo>
                <a:lnTo>
                  <a:pt x="1192" y="2116"/>
                </a:lnTo>
                <a:lnTo>
                  <a:pt x="1183" y="2122"/>
                </a:lnTo>
                <a:lnTo>
                  <a:pt x="1174" y="2129"/>
                </a:lnTo>
                <a:lnTo>
                  <a:pt x="1168" y="2135"/>
                </a:lnTo>
                <a:lnTo>
                  <a:pt x="1165" y="2141"/>
                </a:lnTo>
                <a:lnTo>
                  <a:pt x="1162" y="2147"/>
                </a:lnTo>
                <a:lnTo>
                  <a:pt x="1157" y="2387"/>
                </a:lnTo>
                <a:lnTo>
                  <a:pt x="1157" y="2402"/>
                </a:lnTo>
                <a:lnTo>
                  <a:pt x="1159" y="2415"/>
                </a:lnTo>
                <a:lnTo>
                  <a:pt x="1162" y="2428"/>
                </a:lnTo>
                <a:lnTo>
                  <a:pt x="1166" y="2439"/>
                </a:lnTo>
                <a:lnTo>
                  <a:pt x="1171" y="2450"/>
                </a:lnTo>
                <a:lnTo>
                  <a:pt x="1176" y="2460"/>
                </a:lnTo>
                <a:lnTo>
                  <a:pt x="1184" y="2469"/>
                </a:lnTo>
                <a:lnTo>
                  <a:pt x="1192" y="2478"/>
                </a:lnTo>
                <a:lnTo>
                  <a:pt x="1200" y="2486"/>
                </a:lnTo>
                <a:lnTo>
                  <a:pt x="1210" y="2494"/>
                </a:lnTo>
                <a:lnTo>
                  <a:pt x="1220" y="2500"/>
                </a:lnTo>
                <a:lnTo>
                  <a:pt x="1231" y="2506"/>
                </a:lnTo>
                <a:lnTo>
                  <a:pt x="1242" y="2511"/>
                </a:lnTo>
                <a:lnTo>
                  <a:pt x="1254" y="2516"/>
                </a:lnTo>
                <a:lnTo>
                  <a:pt x="1279" y="2522"/>
                </a:lnTo>
                <a:lnTo>
                  <a:pt x="1305" y="2526"/>
                </a:lnTo>
                <a:lnTo>
                  <a:pt x="1332" y="2528"/>
                </a:lnTo>
                <a:lnTo>
                  <a:pt x="1359" y="2526"/>
                </a:lnTo>
                <a:lnTo>
                  <a:pt x="1385" y="2522"/>
                </a:lnTo>
                <a:lnTo>
                  <a:pt x="1411" y="2515"/>
                </a:lnTo>
                <a:lnTo>
                  <a:pt x="1437" y="2506"/>
                </a:lnTo>
                <a:lnTo>
                  <a:pt x="1459" y="2495"/>
                </a:lnTo>
                <a:lnTo>
                  <a:pt x="1471" y="2489"/>
                </a:lnTo>
                <a:lnTo>
                  <a:pt x="1480" y="2481"/>
                </a:lnTo>
                <a:lnTo>
                  <a:pt x="1620" y="2373"/>
                </a:lnTo>
                <a:lnTo>
                  <a:pt x="1705" y="2373"/>
                </a:lnTo>
                <a:lnTo>
                  <a:pt x="1512" y="2522"/>
                </a:lnTo>
                <a:lnTo>
                  <a:pt x="1498" y="2532"/>
                </a:lnTo>
                <a:lnTo>
                  <a:pt x="1483" y="2541"/>
                </a:lnTo>
                <a:lnTo>
                  <a:pt x="1464" y="2548"/>
                </a:lnTo>
                <a:lnTo>
                  <a:pt x="1446" y="2556"/>
                </a:lnTo>
                <a:lnTo>
                  <a:pt x="1345" y="4763"/>
                </a:lnTo>
                <a:lnTo>
                  <a:pt x="909" y="4763"/>
                </a:lnTo>
                <a:lnTo>
                  <a:pt x="909" y="2771"/>
                </a:lnTo>
                <a:lnTo>
                  <a:pt x="857" y="2771"/>
                </a:lnTo>
                <a:lnTo>
                  <a:pt x="857" y="4763"/>
                </a:lnTo>
                <a:lnTo>
                  <a:pt x="421" y="4763"/>
                </a:lnTo>
                <a:lnTo>
                  <a:pt x="352" y="3267"/>
                </a:lnTo>
                <a:close/>
                <a:moveTo>
                  <a:pt x="1106" y="2321"/>
                </a:moveTo>
                <a:lnTo>
                  <a:pt x="645" y="2321"/>
                </a:lnTo>
                <a:lnTo>
                  <a:pt x="645" y="2372"/>
                </a:lnTo>
                <a:lnTo>
                  <a:pt x="1105" y="2372"/>
                </a:lnTo>
                <a:lnTo>
                  <a:pt x="1106" y="2321"/>
                </a:lnTo>
                <a:close/>
                <a:moveTo>
                  <a:pt x="1109" y="2208"/>
                </a:moveTo>
                <a:lnTo>
                  <a:pt x="645" y="2208"/>
                </a:lnTo>
                <a:lnTo>
                  <a:pt x="645" y="2260"/>
                </a:lnTo>
                <a:lnTo>
                  <a:pt x="1107" y="2260"/>
                </a:lnTo>
                <a:lnTo>
                  <a:pt x="1109" y="2208"/>
                </a:lnTo>
                <a:close/>
                <a:moveTo>
                  <a:pt x="1393" y="2152"/>
                </a:moveTo>
                <a:lnTo>
                  <a:pt x="1773" y="2152"/>
                </a:lnTo>
                <a:lnTo>
                  <a:pt x="1606" y="1820"/>
                </a:lnTo>
                <a:lnTo>
                  <a:pt x="660" y="1820"/>
                </a:lnTo>
                <a:lnTo>
                  <a:pt x="640" y="2152"/>
                </a:lnTo>
                <a:lnTo>
                  <a:pt x="1110" y="2152"/>
                </a:lnTo>
                <a:lnTo>
                  <a:pt x="1110" y="2146"/>
                </a:lnTo>
                <a:lnTo>
                  <a:pt x="1111" y="2134"/>
                </a:lnTo>
                <a:lnTo>
                  <a:pt x="1114" y="2124"/>
                </a:lnTo>
                <a:lnTo>
                  <a:pt x="1116" y="2115"/>
                </a:lnTo>
                <a:lnTo>
                  <a:pt x="1120" y="2105"/>
                </a:lnTo>
                <a:lnTo>
                  <a:pt x="1126" y="2096"/>
                </a:lnTo>
                <a:lnTo>
                  <a:pt x="1132" y="2089"/>
                </a:lnTo>
                <a:lnTo>
                  <a:pt x="1139" y="2082"/>
                </a:lnTo>
                <a:lnTo>
                  <a:pt x="1146" y="2076"/>
                </a:lnTo>
                <a:lnTo>
                  <a:pt x="1154" y="2070"/>
                </a:lnTo>
                <a:lnTo>
                  <a:pt x="1163" y="2065"/>
                </a:lnTo>
                <a:lnTo>
                  <a:pt x="1172" y="2061"/>
                </a:lnTo>
                <a:lnTo>
                  <a:pt x="1183" y="2059"/>
                </a:lnTo>
                <a:lnTo>
                  <a:pt x="1203" y="2054"/>
                </a:lnTo>
                <a:lnTo>
                  <a:pt x="1226" y="2052"/>
                </a:lnTo>
                <a:lnTo>
                  <a:pt x="1249" y="2054"/>
                </a:lnTo>
                <a:lnTo>
                  <a:pt x="1271" y="2057"/>
                </a:lnTo>
                <a:lnTo>
                  <a:pt x="1294" y="2064"/>
                </a:lnTo>
                <a:lnTo>
                  <a:pt x="1316" y="2073"/>
                </a:lnTo>
                <a:lnTo>
                  <a:pt x="1327" y="2078"/>
                </a:lnTo>
                <a:lnTo>
                  <a:pt x="1337" y="2085"/>
                </a:lnTo>
                <a:lnTo>
                  <a:pt x="1346" y="2092"/>
                </a:lnTo>
                <a:lnTo>
                  <a:pt x="1355" y="2100"/>
                </a:lnTo>
                <a:lnTo>
                  <a:pt x="1364" y="2108"/>
                </a:lnTo>
                <a:lnTo>
                  <a:pt x="1372" y="2117"/>
                </a:lnTo>
                <a:lnTo>
                  <a:pt x="1379" y="2128"/>
                </a:lnTo>
                <a:lnTo>
                  <a:pt x="1385" y="2138"/>
                </a:lnTo>
                <a:lnTo>
                  <a:pt x="1393" y="2152"/>
                </a:lnTo>
                <a:close/>
                <a:moveTo>
                  <a:pt x="1114" y="504"/>
                </a:moveTo>
                <a:lnTo>
                  <a:pt x="1114" y="504"/>
                </a:lnTo>
                <a:lnTo>
                  <a:pt x="1109" y="531"/>
                </a:lnTo>
                <a:lnTo>
                  <a:pt x="1102" y="557"/>
                </a:lnTo>
                <a:lnTo>
                  <a:pt x="1093" y="583"/>
                </a:lnTo>
                <a:lnTo>
                  <a:pt x="1081" y="607"/>
                </a:lnTo>
                <a:lnTo>
                  <a:pt x="1068" y="630"/>
                </a:lnTo>
                <a:lnTo>
                  <a:pt x="1054" y="651"/>
                </a:lnTo>
                <a:lnTo>
                  <a:pt x="1039" y="672"/>
                </a:lnTo>
                <a:lnTo>
                  <a:pt x="1022" y="690"/>
                </a:lnTo>
                <a:lnTo>
                  <a:pt x="1002" y="707"/>
                </a:lnTo>
                <a:lnTo>
                  <a:pt x="981" y="721"/>
                </a:lnTo>
                <a:lnTo>
                  <a:pt x="961" y="734"/>
                </a:lnTo>
                <a:lnTo>
                  <a:pt x="939" y="746"/>
                </a:lnTo>
                <a:lnTo>
                  <a:pt x="914" y="755"/>
                </a:lnTo>
                <a:lnTo>
                  <a:pt x="889" y="760"/>
                </a:lnTo>
                <a:lnTo>
                  <a:pt x="865" y="764"/>
                </a:lnTo>
                <a:lnTo>
                  <a:pt x="839" y="765"/>
                </a:lnTo>
                <a:lnTo>
                  <a:pt x="813" y="764"/>
                </a:lnTo>
                <a:lnTo>
                  <a:pt x="787" y="760"/>
                </a:lnTo>
                <a:lnTo>
                  <a:pt x="762" y="753"/>
                </a:lnTo>
                <a:lnTo>
                  <a:pt x="739" y="746"/>
                </a:lnTo>
                <a:lnTo>
                  <a:pt x="715" y="734"/>
                </a:lnTo>
                <a:lnTo>
                  <a:pt x="695" y="721"/>
                </a:lnTo>
                <a:lnTo>
                  <a:pt x="674" y="707"/>
                </a:lnTo>
                <a:lnTo>
                  <a:pt x="656" y="690"/>
                </a:lnTo>
                <a:lnTo>
                  <a:pt x="637" y="670"/>
                </a:lnTo>
                <a:lnTo>
                  <a:pt x="622" y="651"/>
                </a:lnTo>
                <a:lnTo>
                  <a:pt x="608" y="629"/>
                </a:lnTo>
                <a:lnTo>
                  <a:pt x="595" y="607"/>
                </a:lnTo>
                <a:lnTo>
                  <a:pt x="584" y="582"/>
                </a:lnTo>
                <a:lnTo>
                  <a:pt x="575" y="557"/>
                </a:lnTo>
                <a:lnTo>
                  <a:pt x="567" y="530"/>
                </a:lnTo>
                <a:lnTo>
                  <a:pt x="563" y="503"/>
                </a:lnTo>
                <a:lnTo>
                  <a:pt x="557" y="492"/>
                </a:lnTo>
                <a:lnTo>
                  <a:pt x="552" y="479"/>
                </a:lnTo>
                <a:lnTo>
                  <a:pt x="547" y="468"/>
                </a:lnTo>
                <a:lnTo>
                  <a:pt x="543" y="455"/>
                </a:lnTo>
                <a:lnTo>
                  <a:pt x="540" y="442"/>
                </a:lnTo>
                <a:lnTo>
                  <a:pt x="537" y="427"/>
                </a:lnTo>
                <a:lnTo>
                  <a:pt x="536" y="413"/>
                </a:lnTo>
                <a:lnTo>
                  <a:pt x="536" y="397"/>
                </a:lnTo>
                <a:lnTo>
                  <a:pt x="536" y="179"/>
                </a:lnTo>
                <a:lnTo>
                  <a:pt x="537" y="168"/>
                </a:lnTo>
                <a:lnTo>
                  <a:pt x="540" y="156"/>
                </a:lnTo>
                <a:lnTo>
                  <a:pt x="544" y="143"/>
                </a:lnTo>
                <a:lnTo>
                  <a:pt x="549" y="131"/>
                </a:lnTo>
                <a:lnTo>
                  <a:pt x="557" y="119"/>
                </a:lnTo>
                <a:lnTo>
                  <a:pt x="566" y="109"/>
                </a:lnTo>
                <a:lnTo>
                  <a:pt x="575" y="97"/>
                </a:lnTo>
                <a:lnTo>
                  <a:pt x="587" y="87"/>
                </a:lnTo>
                <a:lnTo>
                  <a:pt x="598" y="77"/>
                </a:lnTo>
                <a:lnTo>
                  <a:pt x="613" y="68"/>
                </a:lnTo>
                <a:lnTo>
                  <a:pt x="626" y="58"/>
                </a:lnTo>
                <a:lnTo>
                  <a:pt x="641" y="49"/>
                </a:lnTo>
                <a:lnTo>
                  <a:pt x="657" y="42"/>
                </a:lnTo>
                <a:lnTo>
                  <a:pt x="672" y="34"/>
                </a:lnTo>
                <a:lnTo>
                  <a:pt x="689" y="27"/>
                </a:lnTo>
                <a:lnTo>
                  <a:pt x="708" y="21"/>
                </a:lnTo>
                <a:lnTo>
                  <a:pt x="724" y="16"/>
                </a:lnTo>
                <a:lnTo>
                  <a:pt x="743" y="10"/>
                </a:lnTo>
                <a:lnTo>
                  <a:pt x="759" y="6"/>
                </a:lnTo>
                <a:lnTo>
                  <a:pt x="778" y="4"/>
                </a:lnTo>
                <a:lnTo>
                  <a:pt x="796" y="1"/>
                </a:lnTo>
                <a:lnTo>
                  <a:pt x="813" y="0"/>
                </a:lnTo>
                <a:lnTo>
                  <a:pt x="831" y="0"/>
                </a:lnTo>
                <a:lnTo>
                  <a:pt x="848" y="1"/>
                </a:lnTo>
                <a:lnTo>
                  <a:pt x="865" y="3"/>
                </a:lnTo>
                <a:lnTo>
                  <a:pt x="880" y="5"/>
                </a:lnTo>
                <a:lnTo>
                  <a:pt x="896" y="9"/>
                </a:lnTo>
                <a:lnTo>
                  <a:pt x="910" y="16"/>
                </a:lnTo>
                <a:lnTo>
                  <a:pt x="924" y="22"/>
                </a:lnTo>
                <a:lnTo>
                  <a:pt x="937" y="30"/>
                </a:lnTo>
                <a:lnTo>
                  <a:pt x="949" y="39"/>
                </a:lnTo>
                <a:lnTo>
                  <a:pt x="959" y="49"/>
                </a:lnTo>
                <a:lnTo>
                  <a:pt x="971" y="45"/>
                </a:lnTo>
                <a:lnTo>
                  <a:pt x="983" y="42"/>
                </a:lnTo>
                <a:lnTo>
                  <a:pt x="993" y="39"/>
                </a:lnTo>
                <a:lnTo>
                  <a:pt x="1004" y="38"/>
                </a:lnTo>
                <a:lnTo>
                  <a:pt x="1014" y="38"/>
                </a:lnTo>
                <a:lnTo>
                  <a:pt x="1023" y="38"/>
                </a:lnTo>
                <a:lnTo>
                  <a:pt x="1032" y="39"/>
                </a:lnTo>
                <a:lnTo>
                  <a:pt x="1041" y="40"/>
                </a:lnTo>
                <a:lnTo>
                  <a:pt x="1049" y="43"/>
                </a:lnTo>
                <a:lnTo>
                  <a:pt x="1057" y="47"/>
                </a:lnTo>
                <a:lnTo>
                  <a:pt x="1065" y="51"/>
                </a:lnTo>
                <a:lnTo>
                  <a:pt x="1072" y="55"/>
                </a:lnTo>
                <a:lnTo>
                  <a:pt x="1085" y="66"/>
                </a:lnTo>
                <a:lnTo>
                  <a:pt x="1097" y="81"/>
                </a:lnTo>
                <a:lnTo>
                  <a:pt x="1107" y="97"/>
                </a:lnTo>
                <a:lnTo>
                  <a:pt x="1116" y="116"/>
                </a:lnTo>
                <a:lnTo>
                  <a:pt x="1124" y="135"/>
                </a:lnTo>
                <a:lnTo>
                  <a:pt x="1131" y="157"/>
                </a:lnTo>
                <a:lnTo>
                  <a:pt x="1135" y="181"/>
                </a:lnTo>
                <a:lnTo>
                  <a:pt x="1139" y="205"/>
                </a:lnTo>
                <a:lnTo>
                  <a:pt x="1140" y="230"/>
                </a:lnTo>
                <a:lnTo>
                  <a:pt x="1141" y="257"/>
                </a:lnTo>
                <a:lnTo>
                  <a:pt x="1141" y="397"/>
                </a:lnTo>
                <a:lnTo>
                  <a:pt x="1140" y="413"/>
                </a:lnTo>
                <a:lnTo>
                  <a:pt x="1139" y="427"/>
                </a:lnTo>
                <a:lnTo>
                  <a:pt x="1137" y="442"/>
                </a:lnTo>
                <a:lnTo>
                  <a:pt x="1133" y="455"/>
                </a:lnTo>
                <a:lnTo>
                  <a:pt x="1129" y="468"/>
                </a:lnTo>
                <a:lnTo>
                  <a:pt x="1126" y="481"/>
                </a:lnTo>
                <a:lnTo>
                  <a:pt x="1120" y="492"/>
                </a:lnTo>
                <a:lnTo>
                  <a:pt x="1114" y="504"/>
                </a:lnTo>
                <a:close/>
                <a:moveTo>
                  <a:pt x="619" y="313"/>
                </a:moveTo>
                <a:lnTo>
                  <a:pt x="619" y="313"/>
                </a:lnTo>
                <a:lnTo>
                  <a:pt x="615" y="329"/>
                </a:lnTo>
                <a:lnTo>
                  <a:pt x="613" y="346"/>
                </a:lnTo>
                <a:lnTo>
                  <a:pt x="611" y="362"/>
                </a:lnTo>
                <a:lnTo>
                  <a:pt x="611" y="379"/>
                </a:lnTo>
                <a:lnTo>
                  <a:pt x="611" y="455"/>
                </a:lnTo>
                <a:lnTo>
                  <a:pt x="611" y="471"/>
                </a:lnTo>
                <a:lnTo>
                  <a:pt x="613" y="488"/>
                </a:lnTo>
                <a:lnTo>
                  <a:pt x="615" y="505"/>
                </a:lnTo>
                <a:lnTo>
                  <a:pt x="619" y="522"/>
                </a:lnTo>
                <a:lnTo>
                  <a:pt x="623" y="538"/>
                </a:lnTo>
                <a:lnTo>
                  <a:pt x="628" y="553"/>
                </a:lnTo>
                <a:lnTo>
                  <a:pt x="635" y="569"/>
                </a:lnTo>
                <a:lnTo>
                  <a:pt x="641" y="583"/>
                </a:lnTo>
                <a:lnTo>
                  <a:pt x="649" y="597"/>
                </a:lnTo>
                <a:lnTo>
                  <a:pt x="657" y="610"/>
                </a:lnTo>
                <a:lnTo>
                  <a:pt x="667" y="625"/>
                </a:lnTo>
                <a:lnTo>
                  <a:pt x="676" y="636"/>
                </a:lnTo>
                <a:lnTo>
                  <a:pt x="688" y="648"/>
                </a:lnTo>
                <a:lnTo>
                  <a:pt x="698" y="659"/>
                </a:lnTo>
                <a:lnTo>
                  <a:pt x="711" y="669"/>
                </a:lnTo>
                <a:lnTo>
                  <a:pt x="723" y="678"/>
                </a:lnTo>
                <a:lnTo>
                  <a:pt x="736" y="686"/>
                </a:lnTo>
                <a:lnTo>
                  <a:pt x="750" y="694"/>
                </a:lnTo>
                <a:lnTo>
                  <a:pt x="763" y="699"/>
                </a:lnTo>
                <a:lnTo>
                  <a:pt x="778" y="704"/>
                </a:lnTo>
                <a:lnTo>
                  <a:pt x="793" y="708"/>
                </a:lnTo>
                <a:lnTo>
                  <a:pt x="808" y="712"/>
                </a:lnTo>
                <a:lnTo>
                  <a:pt x="823" y="713"/>
                </a:lnTo>
                <a:lnTo>
                  <a:pt x="839" y="713"/>
                </a:lnTo>
                <a:lnTo>
                  <a:pt x="854" y="713"/>
                </a:lnTo>
                <a:lnTo>
                  <a:pt x="869" y="712"/>
                </a:lnTo>
                <a:lnTo>
                  <a:pt x="884" y="708"/>
                </a:lnTo>
                <a:lnTo>
                  <a:pt x="898" y="704"/>
                </a:lnTo>
                <a:lnTo>
                  <a:pt x="913" y="699"/>
                </a:lnTo>
                <a:lnTo>
                  <a:pt x="927" y="694"/>
                </a:lnTo>
                <a:lnTo>
                  <a:pt x="940" y="686"/>
                </a:lnTo>
                <a:lnTo>
                  <a:pt x="953" y="678"/>
                </a:lnTo>
                <a:lnTo>
                  <a:pt x="966" y="669"/>
                </a:lnTo>
                <a:lnTo>
                  <a:pt x="978" y="660"/>
                </a:lnTo>
                <a:lnTo>
                  <a:pt x="988" y="648"/>
                </a:lnTo>
                <a:lnTo>
                  <a:pt x="1000" y="638"/>
                </a:lnTo>
                <a:lnTo>
                  <a:pt x="1009" y="625"/>
                </a:lnTo>
                <a:lnTo>
                  <a:pt x="1019" y="612"/>
                </a:lnTo>
                <a:lnTo>
                  <a:pt x="1027" y="599"/>
                </a:lnTo>
                <a:lnTo>
                  <a:pt x="1035" y="584"/>
                </a:lnTo>
                <a:lnTo>
                  <a:pt x="1042" y="569"/>
                </a:lnTo>
                <a:lnTo>
                  <a:pt x="1048" y="555"/>
                </a:lnTo>
                <a:lnTo>
                  <a:pt x="1053" y="539"/>
                </a:lnTo>
                <a:lnTo>
                  <a:pt x="1058" y="523"/>
                </a:lnTo>
                <a:lnTo>
                  <a:pt x="1061" y="507"/>
                </a:lnTo>
                <a:lnTo>
                  <a:pt x="1063" y="490"/>
                </a:lnTo>
                <a:lnTo>
                  <a:pt x="1065" y="471"/>
                </a:lnTo>
                <a:lnTo>
                  <a:pt x="1066" y="455"/>
                </a:lnTo>
                <a:lnTo>
                  <a:pt x="1066" y="379"/>
                </a:lnTo>
                <a:lnTo>
                  <a:pt x="1065" y="349"/>
                </a:lnTo>
                <a:lnTo>
                  <a:pt x="1059" y="320"/>
                </a:lnTo>
                <a:lnTo>
                  <a:pt x="1053" y="292"/>
                </a:lnTo>
                <a:lnTo>
                  <a:pt x="1042" y="266"/>
                </a:lnTo>
                <a:lnTo>
                  <a:pt x="1031" y="242"/>
                </a:lnTo>
                <a:lnTo>
                  <a:pt x="1017" y="218"/>
                </a:lnTo>
                <a:lnTo>
                  <a:pt x="1001" y="197"/>
                </a:lnTo>
                <a:lnTo>
                  <a:pt x="983" y="179"/>
                </a:lnTo>
                <a:lnTo>
                  <a:pt x="940" y="200"/>
                </a:lnTo>
                <a:lnTo>
                  <a:pt x="896" y="221"/>
                </a:lnTo>
                <a:lnTo>
                  <a:pt x="850" y="239"/>
                </a:lnTo>
                <a:lnTo>
                  <a:pt x="806" y="256"/>
                </a:lnTo>
                <a:lnTo>
                  <a:pt x="759" y="273"/>
                </a:lnTo>
                <a:lnTo>
                  <a:pt x="714" y="287"/>
                </a:lnTo>
                <a:lnTo>
                  <a:pt x="666" y="300"/>
                </a:lnTo>
                <a:lnTo>
                  <a:pt x="619" y="31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31" name="Прямая со стрелкой 30"/>
          <p:cNvCxnSpPr/>
          <p:nvPr/>
        </p:nvCxnSpPr>
        <p:spPr bwMode="auto">
          <a:xfrm flipV="1">
            <a:off x="2332747" y="3069671"/>
            <a:ext cx="0" cy="1085239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/>
          <p:cNvSpPr txBox="1"/>
          <p:nvPr/>
        </p:nvSpPr>
        <p:spPr>
          <a:xfrm>
            <a:off x="847556" y="3357769"/>
            <a:ext cx="12218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Цессия 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должника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826209" y="5302436"/>
            <a:ext cx="1013075" cy="338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808080"/>
                </a:solidFill>
              </a:rPr>
              <a:t>Должник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826208" y="2608221"/>
            <a:ext cx="888911" cy="338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808080"/>
                </a:solidFill>
              </a:rPr>
              <a:t>Цедент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189704" y="2608221"/>
            <a:ext cx="1457787" cy="338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808080"/>
                </a:solidFill>
              </a:rPr>
              <a:t>Цессионар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796115" y="4228495"/>
            <a:ext cx="6097411" cy="923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marL="342969" indent="-342969">
              <a:spcBef>
                <a:spcPct val="20000"/>
              </a:spcBef>
              <a:spcAft>
                <a:spcPct val="50000"/>
              </a:spcAft>
              <a:buClr>
                <a:srgbClr val="FC6E51"/>
              </a:buClr>
              <a:buSzPct val="60000"/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808080"/>
                </a:solidFill>
                <a:latin typeface="+mn-lt"/>
                <a:cs typeface="+mn-cs"/>
              </a:rPr>
              <a:t>Задолженность по договору купли-продажи</a:t>
            </a:r>
            <a:endParaRPr lang="ru-RU" dirty="0">
              <a:solidFill>
                <a:srgbClr val="808080"/>
              </a:solidFill>
              <a:latin typeface="+mn-lt"/>
              <a:cs typeface="+mn-cs"/>
            </a:endParaRPr>
          </a:p>
          <a:p>
            <a:pPr marL="342969" indent="-342969">
              <a:spcBef>
                <a:spcPct val="20000"/>
              </a:spcBef>
              <a:spcAft>
                <a:spcPct val="50000"/>
              </a:spcAft>
              <a:buClr>
                <a:srgbClr val="FC6E51"/>
              </a:buClr>
              <a:buSzPct val="60000"/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808080"/>
                </a:solidFill>
                <a:latin typeface="+mn-lt"/>
                <a:cs typeface="+mn-cs"/>
              </a:rPr>
              <a:t>Задолженность по договору займа</a:t>
            </a:r>
            <a:endParaRPr lang="ru-RU" dirty="0">
              <a:solidFill>
                <a:srgbClr val="808080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6369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орона цеден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7202560" y="1845251"/>
            <a:ext cx="5017124" cy="4320760"/>
          </a:xfrm>
        </p:spPr>
        <p:txBody>
          <a:bodyPr/>
          <a:lstStyle/>
          <a:p>
            <a:r>
              <a:rPr lang="ru-RU" sz="2000" dirty="0"/>
              <a:t>Закрывается задолженность должника</a:t>
            </a:r>
          </a:p>
          <a:p>
            <a:r>
              <a:rPr lang="ru-RU" sz="2000" dirty="0"/>
              <a:t>Начисляется задолженность цессионария</a:t>
            </a:r>
          </a:p>
          <a:p>
            <a:r>
              <a:rPr lang="ru-RU" sz="2000" dirty="0"/>
              <a:t>Отражается дисконт/прем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37</a:t>
            </a:fld>
            <a:endParaRPr lang="ru-RU" altLang="ru-RU" dirty="0"/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91564" y="1845251"/>
            <a:ext cx="6842344" cy="40213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8681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орона цессионария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202560" y="1917276"/>
            <a:ext cx="4945099" cy="5257429"/>
          </a:xfrm>
        </p:spPr>
        <p:txBody>
          <a:bodyPr/>
          <a:lstStyle/>
          <a:p>
            <a:r>
              <a:rPr lang="ru-RU" sz="2000" dirty="0"/>
              <a:t>Возникает задолженность перед цедентом</a:t>
            </a:r>
          </a:p>
          <a:p>
            <a:r>
              <a:rPr lang="ru-RU" sz="2000" dirty="0"/>
              <a:t>Отражается задолженность должника</a:t>
            </a:r>
          </a:p>
          <a:p>
            <a:r>
              <a:rPr lang="ru-RU" sz="2000" dirty="0"/>
              <a:t>Возможно создать объект расчетов либо выбрать существующий</a:t>
            </a:r>
          </a:p>
          <a:p>
            <a:endParaRPr lang="ru-RU" sz="20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0079B6D-A3E9-455F-A966-8A3C0FE51AC2}" type="slidenum">
              <a:rPr lang="ru-RU" altLang="ru-RU" smtClean="0"/>
              <a:pPr>
                <a:defRPr/>
              </a:pPr>
              <a:t>38</a:t>
            </a:fld>
            <a:endParaRPr lang="ru-RU" altLang="ru-RU" dirty="0"/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216697" y="1917277"/>
            <a:ext cx="6817211" cy="399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7575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торона должника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249982" y="1701202"/>
            <a:ext cx="4801050" cy="4464809"/>
          </a:xfrm>
        </p:spPr>
        <p:txBody>
          <a:bodyPr/>
          <a:lstStyle/>
          <a:p>
            <a:r>
              <a:rPr lang="ru-RU" sz="2000"/>
              <a:t>Закрывается задолженность перед цедентом</a:t>
            </a:r>
          </a:p>
          <a:p>
            <a:r>
              <a:rPr lang="ru-RU" sz="2000"/>
              <a:t>Вводится задолженность перед цессионарием</a:t>
            </a:r>
          </a:p>
          <a:p>
            <a:r>
              <a:rPr lang="ru-RU" sz="2000"/>
              <a:t>Возможно создать объект расчетов либо выбрать существующий</a:t>
            </a:r>
            <a:endParaRPr lang="ru-RU" sz="20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0079B6D-A3E9-455F-A966-8A3C0FE51AC2}" type="slidenum">
              <a:rPr lang="ru-RU" altLang="ru-RU" smtClean="0"/>
              <a:pPr>
                <a:defRPr/>
              </a:pPr>
              <a:t>39</a:t>
            </a:fld>
            <a:endParaRPr lang="ru-RU" altLang="ru-RU" dirty="0"/>
          </a:p>
        </p:txBody>
      </p:sp>
      <p:pic>
        <p:nvPicPr>
          <p:cNvPr id="16" name="Объект 15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19540" y="1733857"/>
            <a:ext cx="6768495" cy="20560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6844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68011" y="1167863"/>
          <a:ext cx="10873208" cy="5574004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739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Ввод договоров и графиков</a:t>
                      </a:r>
                      <a:r>
                        <a:rPr lang="ru-RU" sz="1600" b="0" i="0" u="none" strike="noStrike" baseline="0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 расчетов</a:t>
                      </a:r>
                      <a:endParaRPr lang="ru-RU" sz="1600" b="0" i="0" u="none" strike="noStrike" dirty="0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Ввод и согласование дополнительных соглашений к договор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Калькулятор графиков расче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Заявки на оплату, контроль лимитов БДД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Контроль лимитов БД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Контроль бюджетных резерв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Контроль графиков расчетов по бюджетам и резерв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Валютный контро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Платежный календарь в режиме </a:t>
                      </a:r>
                      <a:r>
                        <a:rPr lang="ru-RU" sz="16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Master-Detail</a:t>
                      </a:r>
                      <a:endParaRPr lang="ru-RU" sz="1600" b="0" i="0" u="none" strike="noStrike" dirty="0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What-if</a:t>
                      </a:r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 моделирование, автоматическое устранение кассовых разрывов, планирование финансовых операций, платежные дн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Отправка платежей</a:t>
                      </a:r>
                      <a:r>
                        <a:rPr lang="ru-RU" sz="1600" b="0" i="0" u="none" strike="noStrike" baseline="0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 и загрузка выписки</a:t>
                      </a:r>
                      <a:endParaRPr lang="ru-RU" sz="1600" b="0" i="0" u="none" strike="noStrike" dirty="0">
                        <a:solidFill>
                          <a:srgbClr val="80808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АРМ по разнесению выписки с настраиваемыми шаблонам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Реестры платеж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Настраиваемые стоп-лист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Общее управление рискам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Calibri" panose="020F0502020204030204" pitchFamily="34" charset="0"/>
                        </a:rPr>
                        <a:t>Управление финансовыми рискам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5" name="Freeform 67"/>
          <p:cNvSpPr>
            <a:spLocks noChangeAspect="1"/>
          </p:cNvSpPr>
          <p:nvPr/>
        </p:nvSpPr>
        <p:spPr bwMode="auto">
          <a:xfrm>
            <a:off x="8329835" y="157342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212854" y="157342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186854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212854" y="217905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1" name="Freeform 67"/>
          <p:cNvSpPr>
            <a:spLocks noChangeAspect="1"/>
          </p:cNvSpPr>
          <p:nvPr/>
        </p:nvSpPr>
        <p:spPr bwMode="auto">
          <a:xfrm>
            <a:off x="8329835" y="250109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250809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282648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4" name="Freeform 67"/>
          <p:cNvSpPr>
            <a:spLocks noChangeAspect="1"/>
          </p:cNvSpPr>
          <p:nvPr/>
        </p:nvSpPr>
        <p:spPr bwMode="auto">
          <a:xfrm>
            <a:off x="8329835" y="409423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3154651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212854" y="344926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0" name="Freeform 67"/>
          <p:cNvSpPr>
            <a:spLocks noChangeAspect="1"/>
          </p:cNvSpPr>
          <p:nvPr/>
        </p:nvSpPr>
        <p:spPr bwMode="auto">
          <a:xfrm>
            <a:off x="8329835" y="374999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377830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4" name="Freeform 67"/>
          <p:cNvSpPr>
            <a:spLocks noChangeAspect="1"/>
          </p:cNvSpPr>
          <p:nvPr/>
        </p:nvSpPr>
        <p:spPr bwMode="auto">
          <a:xfrm>
            <a:off x="10197627" y="446018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5" name="Freeform 67"/>
          <p:cNvSpPr>
            <a:spLocks noChangeAspect="1"/>
          </p:cNvSpPr>
          <p:nvPr/>
        </p:nvSpPr>
        <p:spPr bwMode="auto">
          <a:xfrm>
            <a:off x="10197627" y="49026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6" name="Freeform 67"/>
          <p:cNvSpPr>
            <a:spLocks noChangeAspect="1"/>
          </p:cNvSpPr>
          <p:nvPr/>
        </p:nvSpPr>
        <p:spPr bwMode="auto">
          <a:xfrm>
            <a:off x="8329835" y="4909078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7" name="Freeform 67"/>
          <p:cNvSpPr>
            <a:spLocks noChangeAspect="1"/>
          </p:cNvSpPr>
          <p:nvPr/>
        </p:nvSpPr>
        <p:spPr bwMode="auto">
          <a:xfrm>
            <a:off x="10197627" y="52185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8" name="Freeform 67"/>
          <p:cNvSpPr>
            <a:spLocks noChangeAspect="1"/>
          </p:cNvSpPr>
          <p:nvPr/>
        </p:nvSpPr>
        <p:spPr bwMode="auto">
          <a:xfrm>
            <a:off x="10197627" y="55345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0" name="Freeform 67"/>
          <p:cNvSpPr>
            <a:spLocks noChangeAspect="1"/>
          </p:cNvSpPr>
          <p:nvPr/>
        </p:nvSpPr>
        <p:spPr bwMode="auto">
          <a:xfrm>
            <a:off x="10197627" y="58504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1" name="Freeform 67"/>
          <p:cNvSpPr>
            <a:spLocks noChangeAspect="1"/>
          </p:cNvSpPr>
          <p:nvPr/>
        </p:nvSpPr>
        <p:spPr bwMode="auto">
          <a:xfrm>
            <a:off x="10197627" y="61663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2" name="Freeform 67"/>
          <p:cNvSpPr>
            <a:spLocks noChangeAspect="1"/>
          </p:cNvSpPr>
          <p:nvPr/>
        </p:nvSpPr>
        <p:spPr bwMode="auto">
          <a:xfrm>
            <a:off x="10197627" y="6482311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3" name="Freeform 67"/>
          <p:cNvSpPr>
            <a:spLocks noChangeAspect="1"/>
          </p:cNvSpPr>
          <p:nvPr/>
        </p:nvSpPr>
        <p:spPr bwMode="auto">
          <a:xfrm>
            <a:off x="10197627" y="409423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0988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Блок-схема: документ 22"/>
          <p:cNvSpPr/>
          <p:nvPr/>
        </p:nvSpPr>
        <p:spPr>
          <a:xfrm>
            <a:off x="7402417" y="1989301"/>
            <a:ext cx="2736937" cy="1583904"/>
          </a:xfrm>
          <a:prstGeom prst="flowChartDocument">
            <a:avLst/>
          </a:prstGeom>
          <a:solidFill>
            <a:srgbClr val="A6ECF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нутригрупповые цессии </a:t>
            </a:r>
            <a:br>
              <a:rPr lang="ru-RU" dirty="0"/>
            </a:br>
            <a:r>
              <a:rPr lang="ru-RU" dirty="0"/>
              <a:t>и отражение в бухучете</a:t>
            </a: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143548" y="5349602"/>
            <a:ext cx="11906889" cy="1249576"/>
          </a:xfrm>
        </p:spPr>
        <p:txBody>
          <a:bodyPr/>
          <a:lstStyle/>
          <a:p>
            <a:r>
              <a:rPr lang="ru-RU" dirty="0"/>
              <a:t>АРМ по управлению внутригрупповыми цессиями</a:t>
            </a:r>
          </a:p>
          <a:p>
            <a:r>
              <a:rPr lang="ru-RU" dirty="0"/>
              <a:t>Упрощенное создание новых объектов расчетов (перенос графиков расчетов)</a:t>
            </a:r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0079B6D-A3E9-455F-A966-8A3C0FE51AC2}" type="slidenum">
              <a:rPr lang="ru-RU" altLang="ru-RU" smtClean="0"/>
              <a:pPr>
                <a:defRPr/>
              </a:pPr>
              <a:t>40</a:t>
            </a:fld>
            <a:endParaRPr lang="ru-RU" altLang="ru-RU" dirty="0"/>
          </a:p>
        </p:txBody>
      </p:sp>
      <p:sp>
        <p:nvSpPr>
          <p:cNvPr id="8" name="Блок-схема: документ 7"/>
          <p:cNvSpPr/>
          <p:nvPr/>
        </p:nvSpPr>
        <p:spPr>
          <a:xfrm>
            <a:off x="479663" y="2456689"/>
            <a:ext cx="1656567" cy="937226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Цессия исходящая</a:t>
            </a:r>
          </a:p>
        </p:txBody>
      </p:sp>
      <p:sp>
        <p:nvSpPr>
          <p:cNvPr id="9" name="Блок-схема: документ 8"/>
          <p:cNvSpPr/>
          <p:nvPr/>
        </p:nvSpPr>
        <p:spPr>
          <a:xfrm>
            <a:off x="4405007" y="2456689"/>
            <a:ext cx="1656567" cy="937226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Цессия входящая</a:t>
            </a:r>
          </a:p>
        </p:txBody>
      </p:sp>
      <p:sp>
        <p:nvSpPr>
          <p:cNvPr id="10" name="Блок-схема: документ 9"/>
          <p:cNvSpPr/>
          <p:nvPr/>
        </p:nvSpPr>
        <p:spPr>
          <a:xfrm>
            <a:off x="4405006" y="4077111"/>
            <a:ext cx="1656567" cy="937226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Цессия должника</a:t>
            </a:r>
          </a:p>
        </p:txBody>
      </p:sp>
      <p:sp>
        <p:nvSpPr>
          <p:cNvPr id="11" name="Блок-схема: документ 10"/>
          <p:cNvSpPr/>
          <p:nvPr/>
        </p:nvSpPr>
        <p:spPr>
          <a:xfrm>
            <a:off x="7249982" y="2133350"/>
            <a:ext cx="2736937" cy="1583904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ТУ</a:t>
            </a:r>
          </a:p>
          <a:p>
            <a:pPr algn="ctr"/>
            <a:r>
              <a:rPr lang="ru-RU" sz="1600" dirty="0">
                <a:solidFill>
                  <a:srgbClr val="808080"/>
                </a:solidFill>
              </a:rPr>
              <a:t>РТУ</a:t>
            </a:r>
          </a:p>
          <a:p>
            <a:pPr algn="ctr"/>
            <a:r>
              <a:rPr lang="ru-RU" sz="1600" dirty="0">
                <a:solidFill>
                  <a:srgbClr val="808080"/>
                </a:solidFill>
              </a:rPr>
              <a:t>Корректировка долга</a:t>
            </a:r>
          </a:p>
          <a:p>
            <a:pPr algn="ctr"/>
            <a:r>
              <a:rPr lang="ru-RU" sz="1600" dirty="0">
                <a:solidFill>
                  <a:srgbClr val="808080"/>
                </a:solidFill>
              </a:rPr>
              <a:t>Ручная операция</a:t>
            </a:r>
            <a:endParaRPr lang="ru-RU" sz="1600" dirty="0">
              <a:solidFill>
                <a:srgbClr val="808080"/>
              </a:solidFill>
            </a:endParaRPr>
          </a:p>
        </p:txBody>
      </p:sp>
      <p:cxnSp>
        <p:nvCxnSpPr>
          <p:cNvPr id="12" name="Прямая со стрелкой 11"/>
          <p:cNvCxnSpPr>
            <a:stCxn id="8" idx="3"/>
            <a:endCxn id="9" idx="1"/>
          </p:cNvCxnSpPr>
          <p:nvPr/>
        </p:nvCxnSpPr>
        <p:spPr bwMode="auto">
          <a:xfrm>
            <a:off x="2136230" y="2925302"/>
            <a:ext cx="2268777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 стрелкой 15"/>
          <p:cNvCxnSpPr>
            <a:stCxn id="9" idx="3"/>
            <a:endCxn id="11" idx="1"/>
          </p:cNvCxnSpPr>
          <p:nvPr/>
        </p:nvCxnSpPr>
        <p:spPr bwMode="auto">
          <a:xfrm>
            <a:off x="6061575" y="2925302"/>
            <a:ext cx="1188407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 стрелкой 18"/>
          <p:cNvCxnSpPr>
            <a:stCxn id="9" idx="2"/>
            <a:endCxn id="10" idx="0"/>
          </p:cNvCxnSpPr>
          <p:nvPr/>
        </p:nvCxnSpPr>
        <p:spPr bwMode="auto">
          <a:xfrm flipH="1">
            <a:off x="5233290" y="3331954"/>
            <a:ext cx="1" cy="745157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 стрелкой 21"/>
          <p:cNvCxnSpPr>
            <a:stCxn id="8" idx="2"/>
            <a:endCxn id="10" idx="1"/>
          </p:cNvCxnSpPr>
          <p:nvPr/>
        </p:nvCxnSpPr>
        <p:spPr bwMode="auto">
          <a:xfrm rot="16200000" flipH="1">
            <a:off x="2249590" y="2390309"/>
            <a:ext cx="1213771" cy="3097060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 стрелкой 12"/>
          <p:cNvCxnSpPr>
            <a:stCxn id="10" idx="3"/>
            <a:endCxn id="11" idx="2"/>
          </p:cNvCxnSpPr>
          <p:nvPr/>
        </p:nvCxnSpPr>
        <p:spPr bwMode="auto">
          <a:xfrm flipV="1">
            <a:off x="6061574" y="3612540"/>
            <a:ext cx="2556877" cy="933184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 стрелкой 12"/>
          <p:cNvCxnSpPr>
            <a:stCxn id="8" idx="0"/>
            <a:endCxn id="11" idx="0"/>
          </p:cNvCxnSpPr>
          <p:nvPr/>
        </p:nvCxnSpPr>
        <p:spPr bwMode="auto">
          <a:xfrm rot="5400000" flipH="1" flipV="1">
            <a:off x="4801529" y="-1360233"/>
            <a:ext cx="323339" cy="7310504"/>
          </a:xfrm>
          <a:prstGeom prst="bentConnector3">
            <a:avLst>
              <a:gd name="adj1" fmla="val 222671"/>
            </a:avLst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80808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Блок-схема: документ 23"/>
          <p:cNvSpPr/>
          <p:nvPr/>
        </p:nvSpPr>
        <p:spPr>
          <a:xfrm>
            <a:off x="7554852" y="1845252"/>
            <a:ext cx="2736937" cy="1583904"/>
          </a:xfrm>
          <a:prstGeom prst="flowChartDocument">
            <a:avLst/>
          </a:prstGeom>
          <a:solidFill>
            <a:srgbClr val="A6ECF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47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нирование и контроль операций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5857806"/>
      </p:ext>
    </p:extLst>
  </p:cSld>
  <p:clrMapOvr>
    <a:masterClrMapping/>
  </p:clrMapOvr>
  <p:transition spd="slow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ÐÐ°ÑÐº, ÐÐ°ÑÐºÐµÑ, Ð¡ÑÐ¾ÑÐ¾Ð½Ñ, ÐÐ°Ð¿Ð¸ÑÑ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751" y="3003812"/>
            <a:ext cx="5505276" cy="3882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аемые задачи</a:t>
            </a: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solidFill>
                  <a:srgbClr val="FC6E51"/>
                </a:solidFill>
              </a:rPr>
              <a:t>Унификация</a:t>
            </a:r>
            <a:r>
              <a:rPr lang="ru-RU" dirty="0"/>
              <a:t> </a:t>
            </a:r>
            <a:r>
              <a:rPr lang="ru-RU" dirty="0">
                <a:solidFill>
                  <a:srgbClr val="808080"/>
                </a:solidFill>
              </a:rPr>
              <a:t>процессов контроля</a:t>
            </a:r>
          </a:p>
          <a:p>
            <a:r>
              <a:rPr lang="ru-RU" dirty="0">
                <a:solidFill>
                  <a:srgbClr val="FC6E51"/>
                </a:solidFill>
              </a:rPr>
              <a:t>Оптимизация </a:t>
            </a:r>
            <a:r>
              <a:rPr lang="ru-RU" dirty="0">
                <a:solidFill>
                  <a:srgbClr val="808080"/>
                </a:solidFill>
              </a:rPr>
              <a:t>документооборота</a:t>
            </a:r>
          </a:p>
          <a:p>
            <a:r>
              <a:rPr lang="ru-RU" dirty="0">
                <a:solidFill>
                  <a:srgbClr val="FC6E51"/>
                </a:solidFill>
              </a:rPr>
              <a:t>Повышение </a:t>
            </a:r>
            <a:r>
              <a:rPr lang="ru-RU" dirty="0">
                <a:solidFill>
                  <a:srgbClr val="808080"/>
                </a:solidFill>
              </a:rPr>
              <a:t>эффективности коммуникаций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18097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7398146"/>
              </p:ext>
            </p:extLst>
          </p:nvPr>
        </p:nvGraphicFramePr>
        <p:xfrm>
          <a:off x="408955" y="1425541"/>
          <a:ext cx="10873208" cy="4907912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7397"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явки на оплату и планируем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заявок на оплату по лимитам БДД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од бюджетных резерв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заявок на оплату по бюджетным резерв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заявок на оплату в разрезе настраиваемых дополнительных аналитик стат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графиков платежей по лимитам БДДС и БД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лимитов в валюте управленческого учет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лимитов в валюте операци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превышения суммы расходов по договор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дебиторской задолженности по договор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общей дебиторской задолженности контрагент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ие заявок в системе по настраиваемым маршрут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рытие заявок на оплат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п-лист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5" name="Freeform 67"/>
          <p:cNvSpPr>
            <a:spLocks noChangeAspect="1"/>
          </p:cNvSpPr>
          <p:nvPr/>
        </p:nvSpPr>
        <p:spPr bwMode="auto">
          <a:xfrm>
            <a:off x="8329835" y="182733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202043" y="182733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214326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197627" y="245919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1" name="Freeform 67"/>
          <p:cNvSpPr>
            <a:spLocks noChangeAspect="1"/>
          </p:cNvSpPr>
          <p:nvPr/>
        </p:nvSpPr>
        <p:spPr bwMode="auto">
          <a:xfrm>
            <a:off x="8329835" y="244167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277512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314576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349946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197627" y="381539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0" name="Freeform 67"/>
          <p:cNvSpPr>
            <a:spLocks noChangeAspect="1"/>
          </p:cNvSpPr>
          <p:nvPr/>
        </p:nvSpPr>
        <p:spPr bwMode="auto">
          <a:xfrm>
            <a:off x="8329835" y="381539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413132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4" name="Freeform 67"/>
          <p:cNvSpPr>
            <a:spLocks noChangeAspect="1"/>
          </p:cNvSpPr>
          <p:nvPr/>
        </p:nvSpPr>
        <p:spPr bwMode="auto">
          <a:xfrm>
            <a:off x="10197627" y="476318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5" name="Freeform 67"/>
          <p:cNvSpPr>
            <a:spLocks noChangeAspect="1"/>
          </p:cNvSpPr>
          <p:nvPr/>
        </p:nvSpPr>
        <p:spPr bwMode="auto">
          <a:xfrm>
            <a:off x="10197627" y="507911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6" name="Freeform 67"/>
          <p:cNvSpPr>
            <a:spLocks noChangeAspect="1"/>
          </p:cNvSpPr>
          <p:nvPr/>
        </p:nvSpPr>
        <p:spPr bwMode="auto">
          <a:xfrm>
            <a:off x="8329835" y="476318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7" name="Freeform 67"/>
          <p:cNvSpPr>
            <a:spLocks noChangeAspect="1"/>
          </p:cNvSpPr>
          <p:nvPr/>
        </p:nvSpPr>
        <p:spPr bwMode="auto">
          <a:xfrm>
            <a:off x="10197627" y="539504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8" name="Freeform 67"/>
          <p:cNvSpPr>
            <a:spLocks noChangeAspect="1"/>
          </p:cNvSpPr>
          <p:nvPr/>
        </p:nvSpPr>
        <p:spPr bwMode="auto">
          <a:xfrm>
            <a:off x="10197627" y="571097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9" name="Freeform 67"/>
          <p:cNvSpPr>
            <a:spLocks noChangeAspect="1"/>
          </p:cNvSpPr>
          <p:nvPr/>
        </p:nvSpPr>
        <p:spPr bwMode="auto">
          <a:xfrm>
            <a:off x="8329835" y="571097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0" name="Freeform 67"/>
          <p:cNvSpPr>
            <a:spLocks noChangeAspect="1"/>
          </p:cNvSpPr>
          <p:nvPr/>
        </p:nvSpPr>
        <p:spPr bwMode="auto">
          <a:xfrm>
            <a:off x="10197627" y="602690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3" name="Freeform 67"/>
          <p:cNvSpPr>
            <a:spLocks noChangeAspect="1"/>
          </p:cNvSpPr>
          <p:nvPr/>
        </p:nvSpPr>
        <p:spPr bwMode="auto">
          <a:xfrm>
            <a:off x="10197627" y="444725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4" name="Freeform 67"/>
          <p:cNvSpPr>
            <a:spLocks noChangeAspect="1"/>
          </p:cNvSpPr>
          <p:nvPr/>
        </p:nvSpPr>
        <p:spPr bwMode="auto">
          <a:xfrm>
            <a:off x="8329835" y="2148121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8186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Сквозной процесс осуществления платежей</a:t>
            </a:r>
          </a:p>
        </p:txBody>
      </p:sp>
      <p:sp>
        <p:nvSpPr>
          <p:cNvPr id="2" name="Блок-схема: документ 1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42" name="Блок-схема: документ 41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43" name="Блок-схема: документ 42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44" name="Блок-схема: документ 43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еестр платежей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Обмен с банками</a:t>
            </a:r>
          </a:p>
        </p:txBody>
      </p:sp>
      <p:sp>
        <p:nvSpPr>
          <p:cNvPr id="47" name="Блок-схема: документ 46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азнесение выписки</a:t>
            </a:r>
          </a:p>
        </p:txBody>
      </p:sp>
      <p:cxnSp>
        <p:nvCxnSpPr>
          <p:cNvPr id="5" name="Прямая со стрелкой 4"/>
          <p:cNvCxnSpPr>
            <a:stCxn id="2" idx="3"/>
            <a:endCxn id="29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4"/>
          <p:cNvCxnSpPr>
            <a:stCxn id="42" idx="3"/>
            <a:endCxn id="29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4"/>
          <p:cNvCxnSpPr>
            <a:stCxn id="43" idx="3"/>
            <a:endCxn id="3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4"/>
          <p:cNvCxnSpPr>
            <a:stCxn id="3" idx="3"/>
            <a:endCxn id="44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4"/>
          <p:cNvCxnSpPr>
            <a:stCxn id="44" idx="2"/>
            <a:endCxn id="47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4"/>
          <p:cNvCxnSpPr>
            <a:stCxn id="47" idx="1"/>
            <a:endCxn id="46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4"/>
          <p:cNvCxnSpPr>
            <a:stCxn id="46" idx="1"/>
            <a:endCxn id="48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4"/>
          <p:cNvCxnSpPr>
            <a:stCxn id="48" idx="1"/>
            <a:endCxn id="49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Блок-схема: документ 35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39" name="Прямая со стрелкой 4"/>
          <p:cNvCxnSpPr>
            <a:stCxn id="36" idx="3"/>
            <a:endCxn id="3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Блок-схема: узел 28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50" name="Прямая со стрелкой 4"/>
          <p:cNvCxnSpPr>
            <a:stCxn id="29" idx="6"/>
            <a:endCxn id="43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29" idx="6"/>
            <a:endCxn id="36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664777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тежные позиции – унифицированная сущность платежа</a:t>
            </a:r>
          </a:p>
        </p:txBody>
      </p:sp>
      <p:sp>
        <p:nvSpPr>
          <p:cNvPr id="4" name="Блок-схема: документ 3"/>
          <p:cNvSpPr/>
          <p:nvPr/>
        </p:nvSpPr>
        <p:spPr>
          <a:xfrm>
            <a:off x="864062" y="1701602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Заявка на оплату</a:t>
            </a:r>
          </a:p>
        </p:txBody>
      </p:sp>
      <p:sp>
        <p:nvSpPr>
          <p:cNvPr id="5" name="Блок-схема: документ 4"/>
          <p:cNvSpPr/>
          <p:nvPr/>
        </p:nvSpPr>
        <p:spPr>
          <a:xfrm>
            <a:off x="2929235" y="1701602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ланируемое поступление ДС</a:t>
            </a:r>
          </a:p>
        </p:txBody>
      </p:sp>
      <p:sp>
        <p:nvSpPr>
          <p:cNvPr id="6" name="Блок-схема: документ 5"/>
          <p:cNvSpPr/>
          <p:nvPr/>
        </p:nvSpPr>
        <p:spPr>
          <a:xfrm>
            <a:off x="4801443" y="1701602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График расчетов договор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64061" y="3429794"/>
            <a:ext cx="7465774" cy="5760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bg1"/>
                </a:solidFill>
              </a:rPr>
              <a:t>Платежные позиции</a:t>
            </a:r>
          </a:p>
        </p:txBody>
      </p:sp>
      <p:sp>
        <p:nvSpPr>
          <p:cNvPr id="8" name="Блок-схема: документ 7"/>
          <p:cNvSpPr/>
          <p:nvPr/>
        </p:nvSpPr>
        <p:spPr>
          <a:xfrm>
            <a:off x="870197" y="4437906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латежное поручение</a:t>
            </a:r>
          </a:p>
        </p:txBody>
      </p:sp>
      <p:sp>
        <p:nvSpPr>
          <p:cNvPr id="9" name="Блок-схема: документ 8"/>
          <p:cNvSpPr/>
          <p:nvPr/>
        </p:nvSpPr>
        <p:spPr>
          <a:xfrm>
            <a:off x="864062" y="5734050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писание с р/с</a:t>
            </a:r>
          </a:p>
        </p:txBody>
      </p:sp>
      <p:sp>
        <p:nvSpPr>
          <p:cNvPr id="10" name="Блок-схема: документ 9"/>
          <p:cNvSpPr/>
          <p:nvPr/>
        </p:nvSpPr>
        <p:spPr>
          <a:xfrm>
            <a:off x="2824594" y="5734357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оступление на р/с</a:t>
            </a:r>
          </a:p>
        </p:txBody>
      </p:sp>
      <p:sp>
        <p:nvSpPr>
          <p:cNvPr id="11" name="Блок-схема: документ 10"/>
          <p:cNvSpPr/>
          <p:nvPr/>
        </p:nvSpPr>
        <p:spPr>
          <a:xfrm>
            <a:off x="4785126" y="5734050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КО</a:t>
            </a:r>
          </a:p>
        </p:txBody>
      </p:sp>
      <p:sp>
        <p:nvSpPr>
          <p:cNvPr id="12" name="Блок-схема: документ 11"/>
          <p:cNvSpPr/>
          <p:nvPr/>
        </p:nvSpPr>
        <p:spPr>
          <a:xfrm>
            <a:off x="6745659" y="5734050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РКО</a:t>
            </a:r>
          </a:p>
        </p:txBody>
      </p:sp>
      <p:cxnSp>
        <p:nvCxnSpPr>
          <p:cNvPr id="13" name="Прямая со стрелкой 12"/>
          <p:cNvCxnSpPr>
            <a:stCxn id="8" idx="2"/>
            <a:endCxn id="9" idx="0"/>
          </p:cNvCxnSpPr>
          <p:nvPr/>
        </p:nvCxnSpPr>
        <p:spPr>
          <a:xfrm flipH="1">
            <a:off x="1656150" y="5397647"/>
            <a:ext cx="6135" cy="336403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stCxn id="4" idx="2"/>
          </p:cNvCxnSpPr>
          <p:nvPr/>
        </p:nvCxnSpPr>
        <p:spPr>
          <a:xfrm>
            <a:off x="1656150" y="2661343"/>
            <a:ext cx="0" cy="768451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>
            <a:off x="3637785" y="2661342"/>
            <a:ext cx="0" cy="768451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5521523" y="2661342"/>
            <a:ext cx="0" cy="768451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7465739" y="4005858"/>
            <a:ext cx="0" cy="1728192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5521523" y="4005858"/>
            <a:ext cx="0" cy="1728192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3659425" y="4005858"/>
            <a:ext cx="0" cy="1728192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1656150" y="4005858"/>
            <a:ext cx="0" cy="432048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Блок-схема: документ 20"/>
          <p:cNvSpPr/>
          <p:nvPr/>
        </p:nvSpPr>
        <p:spPr>
          <a:xfrm>
            <a:off x="6673651" y="1701602"/>
            <a:ext cx="1584176" cy="1027682"/>
          </a:xfrm>
          <a:prstGeom prst="flowChartDocumen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Ценная бумага</a:t>
            </a:r>
          </a:p>
        </p:txBody>
      </p:sp>
      <p:cxnSp>
        <p:nvCxnSpPr>
          <p:cNvPr id="22" name="Прямая со стрелкой 21"/>
          <p:cNvCxnSpPr/>
          <p:nvPr/>
        </p:nvCxnSpPr>
        <p:spPr>
          <a:xfrm>
            <a:off x="7393731" y="2661342"/>
            <a:ext cx="0" cy="768451"/>
          </a:xfrm>
          <a:prstGeom prst="straightConnector1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3649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22531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Контроль лимитов</a:t>
            </a:r>
            <a:endParaRPr lang="ru-RU" altLang="ru-RU" dirty="0"/>
          </a:p>
        </p:txBody>
      </p:sp>
      <p:sp>
        <p:nvSpPr>
          <p:cNvPr id="17413" name="Прямоугольник 6"/>
          <p:cNvSpPr>
            <a:spLocks noChangeArrowheads="1"/>
          </p:cNvSpPr>
          <p:nvPr/>
        </p:nvSpPr>
        <p:spPr bwMode="auto">
          <a:xfrm>
            <a:off x="6725684" y="2593594"/>
            <a:ext cx="1836000" cy="720000"/>
          </a:xfrm>
          <a:prstGeom prst="rect">
            <a:avLst/>
          </a:prstGeom>
          <a:solidFill>
            <a:srgbClr val="00B0F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ru-RU" sz="1200" b="1" dirty="0">
                <a:solidFill>
                  <a:srgbClr val="808080"/>
                </a:solidFill>
              </a:rPr>
              <a:t>Задолженность:</a:t>
            </a:r>
          </a:p>
          <a:p>
            <a:pPr marL="541338" lvl="1" indent="-185738">
              <a:buFont typeface="Arial" panose="020B0604020202020204" pitchFamily="34" charset="0"/>
              <a:buChar char="•"/>
              <a:defRPr/>
            </a:pPr>
            <a:r>
              <a:rPr lang="ru-RU" altLang="ru-RU" sz="1200" dirty="0">
                <a:solidFill>
                  <a:srgbClr val="808080"/>
                </a:solidFill>
              </a:rPr>
              <a:t>Договор</a:t>
            </a:r>
          </a:p>
          <a:p>
            <a:pPr marL="541338" lvl="1" indent="-185738">
              <a:buFont typeface="Arial" panose="020B0604020202020204" pitchFamily="34" charset="0"/>
              <a:buChar char="•"/>
              <a:defRPr/>
            </a:pPr>
            <a:r>
              <a:rPr lang="ru-RU" altLang="ru-RU" sz="1200" dirty="0">
                <a:solidFill>
                  <a:srgbClr val="808080"/>
                </a:solidFill>
              </a:rPr>
              <a:t>Контрагент</a:t>
            </a:r>
          </a:p>
        </p:txBody>
      </p:sp>
      <p:sp>
        <p:nvSpPr>
          <p:cNvPr id="22534" name="Прямоугольник 21"/>
          <p:cNvSpPr>
            <a:spLocks noChangeArrowheads="1"/>
          </p:cNvSpPr>
          <p:nvPr/>
        </p:nvSpPr>
        <p:spPr bwMode="auto">
          <a:xfrm>
            <a:off x="5444138" y="1539770"/>
            <a:ext cx="1541462" cy="719138"/>
          </a:xfrm>
          <a:prstGeom prst="flowChartDocumen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График договора</a:t>
            </a:r>
          </a:p>
        </p:txBody>
      </p:sp>
      <p:cxnSp>
        <p:nvCxnSpPr>
          <p:cNvPr id="22535" name="Прямая со стрелкой 89"/>
          <p:cNvCxnSpPr>
            <a:cxnSpLocks noChangeShapeType="1"/>
            <a:stCxn id="17413" idx="1"/>
            <a:endCxn id="22540" idx="3"/>
          </p:cNvCxnSpPr>
          <p:nvPr/>
        </p:nvCxnSpPr>
        <p:spPr bwMode="auto">
          <a:xfrm flipH="1">
            <a:off x="5852933" y="2953594"/>
            <a:ext cx="872753" cy="0"/>
          </a:xfrm>
          <a:prstGeom prst="straightConnector1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36" name="Прямая со стрелкой 39"/>
          <p:cNvCxnSpPr>
            <a:cxnSpLocks noChangeShapeType="1"/>
            <a:stCxn id="22539" idx="3"/>
            <a:endCxn id="22540" idx="1"/>
          </p:cNvCxnSpPr>
          <p:nvPr/>
        </p:nvCxnSpPr>
        <p:spPr bwMode="auto">
          <a:xfrm>
            <a:off x="3433291" y="2953514"/>
            <a:ext cx="878840" cy="80"/>
          </a:xfrm>
          <a:prstGeom prst="straightConnector1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38" name="Прямая со стрелкой 39"/>
          <p:cNvCxnSpPr>
            <a:cxnSpLocks noChangeShapeType="1"/>
            <a:stCxn id="22534" idx="2"/>
            <a:endCxn id="22540" idx="0"/>
          </p:cNvCxnSpPr>
          <p:nvPr/>
        </p:nvCxnSpPr>
        <p:spPr bwMode="auto">
          <a:xfrm rot="5400000">
            <a:off x="5457586" y="1836310"/>
            <a:ext cx="382229" cy="1132338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539" name="Прямоугольник 6"/>
          <p:cNvSpPr>
            <a:spLocks noChangeArrowheads="1"/>
          </p:cNvSpPr>
          <p:nvPr/>
        </p:nvSpPr>
        <p:spPr bwMode="auto">
          <a:xfrm>
            <a:off x="1892491" y="2593514"/>
            <a:ext cx="1540800" cy="720000"/>
          </a:xfrm>
          <a:prstGeom prst="rect">
            <a:avLst/>
          </a:prstGeom>
          <a:solidFill>
            <a:srgbClr val="00B0F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1600" b="1" dirty="0">
                <a:solidFill>
                  <a:srgbClr val="808080"/>
                </a:solidFill>
              </a:rPr>
              <a:t>Бюджет</a:t>
            </a:r>
          </a:p>
        </p:txBody>
      </p:sp>
      <p:sp>
        <p:nvSpPr>
          <p:cNvPr id="22540" name="Прямоугольник 21"/>
          <p:cNvSpPr>
            <a:spLocks noChangeArrowheads="1"/>
          </p:cNvSpPr>
          <p:nvPr/>
        </p:nvSpPr>
        <p:spPr bwMode="auto">
          <a:xfrm>
            <a:off x="4312131" y="2593594"/>
            <a:ext cx="1540800" cy="720000"/>
          </a:xfrm>
          <a:prstGeom prst="flowChartProcess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Проверка лимитов</a:t>
            </a:r>
          </a:p>
        </p:txBody>
      </p:sp>
      <p:cxnSp>
        <p:nvCxnSpPr>
          <p:cNvPr id="22541" name="Прямая со стрелкой 39"/>
          <p:cNvCxnSpPr>
            <a:cxnSpLocks noChangeShapeType="1"/>
            <a:stCxn id="22540" idx="2"/>
            <a:endCxn id="22542" idx="0"/>
          </p:cNvCxnSpPr>
          <p:nvPr/>
        </p:nvCxnSpPr>
        <p:spPr bwMode="auto">
          <a:xfrm>
            <a:off x="5082533" y="3313594"/>
            <a:ext cx="3841" cy="302716"/>
          </a:xfrm>
          <a:prstGeom prst="straightConnector1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43" name="Прямая со стрелкой 39"/>
          <p:cNvCxnSpPr>
            <a:cxnSpLocks noChangeShapeType="1"/>
            <a:stCxn id="22542" idx="1"/>
            <a:endCxn id="108" idx="0"/>
          </p:cNvCxnSpPr>
          <p:nvPr/>
        </p:nvCxnSpPr>
        <p:spPr bwMode="auto">
          <a:xfrm rot="10800000" flipV="1">
            <a:off x="3464504" y="4066310"/>
            <a:ext cx="739868" cy="1307626"/>
          </a:xfrm>
          <a:prstGeom prst="bentConnector2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Прямоугольник 21"/>
          <p:cNvSpPr>
            <a:spLocks noChangeArrowheads="1"/>
          </p:cNvSpPr>
          <p:nvPr/>
        </p:nvSpPr>
        <p:spPr bwMode="auto">
          <a:xfrm>
            <a:off x="2694104" y="5373936"/>
            <a:ext cx="1540800" cy="792162"/>
          </a:xfrm>
          <a:prstGeom prst="flowChartOffpageConnector">
            <a:avLst/>
          </a:prstGeom>
          <a:solidFill>
            <a:srgbClr val="92D050">
              <a:alpha val="50000"/>
            </a:srgbClr>
          </a:solidFill>
          <a:ln w="19050" algn="ctr">
            <a:noFill/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200" b="1" dirty="0">
                <a:solidFill>
                  <a:srgbClr val="808080"/>
                </a:solidFill>
              </a:rPr>
              <a:t>Согласование</a:t>
            </a:r>
          </a:p>
        </p:txBody>
      </p:sp>
      <p:sp>
        <p:nvSpPr>
          <p:cNvPr id="22545" name="TextBox 54"/>
          <p:cNvSpPr txBox="1">
            <a:spLocks noChangeArrowheads="1"/>
          </p:cNvSpPr>
          <p:nvPr/>
        </p:nvSpPr>
        <p:spPr bwMode="auto">
          <a:xfrm>
            <a:off x="3758597" y="3740137"/>
            <a:ext cx="438150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>
                <a:solidFill>
                  <a:srgbClr val="808080"/>
                </a:solidFill>
              </a:rPr>
              <a:t>Да</a:t>
            </a:r>
            <a:endParaRPr lang="ru-RU" altLang="ru-RU" sz="2800" dirty="0">
              <a:solidFill>
                <a:srgbClr val="808080"/>
              </a:solidFill>
            </a:endParaRPr>
          </a:p>
        </p:txBody>
      </p:sp>
      <p:cxnSp>
        <p:nvCxnSpPr>
          <p:cNvPr id="22546" name="Прямая со стрелкой 39"/>
          <p:cNvCxnSpPr>
            <a:cxnSpLocks noChangeShapeType="1"/>
            <a:stCxn id="22542" idx="3"/>
            <a:endCxn id="31" idx="0"/>
          </p:cNvCxnSpPr>
          <p:nvPr/>
        </p:nvCxnSpPr>
        <p:spPr bwMode="auto">
          <a:xfrm>
            <a:off x="5968372" y="4066310"/>
            <a:ext cx="492994" cy="462118"/>
          </a:xfrm>
          <a:prstGeom prst="bentConnector2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548" name="TextBox 116"/>
          <p:cNvSpPr txBox="1">
            <a:spLocks noChangeArrowheads="1"/>
          </p:cNvSpPr>
          <p:nvPr/>
        </p:nvSpPr>
        <p:spPr bwMode="auto">
          <a:xfrm>
            <a:off x="5996947" y="3740137"/>
            <a:ext cx="533400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>
                <a:solidFill>
                  <a:srgbClr val="808080"/>
                </a:solidFill>
              </a:rPr>
              <a:t>Нет</a:t>
            </a:r>
            <a:endParaRPr lang="ru-RU" altLang="ru-RU" sz="2800">
              <a:solidFill>
                <a:srgbClr val="808080"/>
              </a:solidFill>
            </a:endParaRPr>
          </a:p>
        </p:txBody>
      </p:sp>
      <p:sp>
        <p:nvSpPr>
          <p:cNvPr id="22549" name="TextBox 118"/>
          <p:cNvSpPr txBox="1">
            <a:spLocks noChangeArrowheads="1"/>
          </p:cNvSpPr>
          <p:nvPr/>
        </p:nvSpPr>
        <p:spPr bwMode="auto">
          <a:xfrm>
            <a:off x="7411484" y="4658965"/>
            <a:ext cx="4381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>
                <a:solidFill>
                  <a:srgbClr val="808080"/>
                </a:solidFill>
              </a:rPr>
              <a:t>Да</a:t>
            </a:r>
            <a:endParaRPr lang="ru-RU" altLang="ru-RU" sz="2800" dirty="0">
              <a:solidFill>
                <a:srgbClr val="808080"/>
              </a:solidFill>
            </a:endParaRPr>
          </a:p>
        </p:txBody>
      </p:sp>
      <p:cxnSp>
        <p:nvCxnSpPr>
          <p:cNvPr id="22550" name="Прямая со стрелкой 39"/>
          <p:cNvCxnSpPr>
            <a:cxnSpLocks noChangeShapeType="1"/>
            <a:stCxn id="31" idx="3"/>
            <a:endCxn id="64" idx="0"/>
          </p:cNvCxnSpPr>
          <p:nvPr/>
        </p:nvCxnSpPr>
        <p:spPr bwMode="auto">
          <a:xfrm>
            <a:off x="7343368" y="4978428"/>
            <a:ext cx="720125" cy="395508"/>
          </a:xfrm>
          <a:prstGeom prst="bentConnector2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Блок-схема: знак завершения 63"/>
          <p:cNvSpPr/>
          <p:nvPr/>
        </p:nvSpPr>
        <p:spPr bwMode="auto">
          <a:xfrm>
            <a:off x="7293091" y="5373936"/>
            <a:ext cx="1540800" cy="515938"/>
          </a:xfrm>
          <a:prstGeom prst="flowChartTerminator">
            <a:avLst/>
          </a:prstGeom>
          <a:solidFill>
            <a:srgbClr val="FC6E51">
              <a:alpha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808080"/>
                </a:solidFill>
              </a:rPr>
              <a:t>Отказ</a:t>
            </a:r>
            <a:endParaRPr lang="ru-RU" sz="1400" b="1" dirty="0">
              <a:solidFill>
                <a:srgbClr val="808080"/>
              </a:solidFill>
            </a:endParaRPr>
          </a:p>
        </p:txBody>
      </p:sp>
      <p:cxnSp>
        <p:nvCxnSpPr>
          <p:cNvPr id="22552" name="Прямая со стрелкой 39"/>
          <p:cNvCxnSpPr>
            <a:cxnSpLocks noChangeShapeType="1"/>
            <a:stCxn id="31" idx="1"/>
            <a:endCxn id="108" idx="0"/>
          </p:cNvCxnSpPr>
          <p:nvPr/>
        </p:nvCxnSpPr>
        <p:spPr bwMode="auto">
          <a:xfrm rot="10800000" flipV="1">
            <a:off x="3464504" y="4978428"/>
            <a:ext cx="2114862" cy="395508"/>
          </a:xfrm>
          <a:prstGeom prst="bentConnector2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553" name="TextBox 129"/>
          <p:cNvSpPr txBox="1">
            <a:spLocks noChangeArrowheads="1"/>
          </p:cNvSpPr>
          <p:nvPr/>
        </p:nvSpPr>
        <p:spPr bwMode="auto">
          <a:xfrm>
            <a:off x="5060843" y="4658965"/>
            <a:ext cx="534988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>
                <a:solidFill>
                  <a:srgbClr val="808080"/>
                </a:solidFill>
              </a:rPr>
              <a:t>Нет</a:t>
            </a:r>
            <a:endParaRPr lang="ru-RU" altLang="ru-RU" sz="2800" dirty="0">
              <a:solidFill>
                <a:srgbClr val="808080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4204372" y="3616310"/>
            <a:ext cx="1764000" cy="900000"/>
            <a:chOff x="3528080" y="3213100"/>
            <a:chExt cx="1764000" cy="900000"/>
          </a:xfrm>
        </p:grpSpPr>
        <p:sp>
          <p:nvSpPr>
            <p:cNvPr id="22542" name="Блок-схема: решение 42"/>
            <p:cNvSpPr>
              <a:spLocks noChangeArrowheads="1"/>
            </p:cNvSpPr>
            <p:nvPr/>
          </p:nvSpPr>
          <p:spPr bwMode="auto">
            <a:xfrm>
              <a:off x="3528080" y="3213100"/>
              <a:ext cx="1764000" cy="900000"/>
            </a:xfrm>
            <a:prstGeom prst="flowChartDecision">
              <a:avLst/>
            </a:prstGeom>
            <a:solidFill>
              <a:srgbClr val="FFC000">
                <a:alpha val="50195"/>
              </a:srgb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ru-RU" altLang="ru-RU" sz="1600" dirty="0">
                <a:solidFill>
                  <a:srgbClr val="808080"/>
                </a:solidFill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3971689" y="3400425"/>
              <a:ext cx="1224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rgbClr val="808080"/>
                  </a:solidFill>
                </a:rPr>
                <a:t>Проверка пройдена?</a:t>
              </a: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5579366" y="4528428"/>
            <a:ext cx="1764000" cy="900000"/>
            <a:chOff x="3528080" y="3213100"/>
            <a:chExt cx="1764000" cy="900000"/>
          </a:xfrm>
        </p:grpSpPr>
        <p:sp>
          <p:nvSpPr>
            <p:cNvPr id="31" name="Блок-схема: решение 42"/>
            <p:cNvSpPr>
              <a:spLocks noChangeArrowheads="1"/>
            </p:cNvSpPr>
            <p:nvPr/>
          </p:nvSpPr>
          <p:spPr bwMode="auto">
            <a:xfrm>
              <a:off x="3528080" y="3213100"/>
              <a:ext cx="1764000" cy="900000"/>
            </a:xfrm>
            <a:prstGeom prst="flowChartDecision">
              <a:avLst/>
            </a:prstGeom>
            <a:solidFill>
              <a:srgbClr val="FFC000">
                <a:alpha val="50195"/>
              </a:srgb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endParaRPr lang="ru-RU" altLang="ru-RU" sz="1600" dirty="0">
                <a:solidFill>
                  <a:srgbClr val="808080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905014" y="3386028"/>
              <a:ext cx="1224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rgbClr val="808080"/>
                  </a:solidFill>
                </a:rPr>
                <a:t>Запрещать проведение?</a:t>
              </a:r>
            </a:p>
          </p:txBody>
        </p:sp>
      </p:grpSp>
      <p:sp>
        <p:nvSpPr>
          <p:cNvPr id="71" name="Прямоугольник 21"/>
          <p:cNvSpPr>
            <a:spLocks noChangeArrowheads="1"/>
          </p:cNvSpPr>
          <p:nvPr/>
        </p:nvSpPr>
        <p:spPr bwMode="auto">
          <a:xfrm>
            <a:off x="3063706" y="1551673"/>
            <a:ext cx="1541462" cy="719138"/>
          </a:xfrm>
          <a:prstGeom prst="flowChartDocumen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Заявка на оплату</a:t>
            </a:r>
          </a:p>
        </p:txBody>
      </p:sp>
      <p:cxnSp>
        <p:nvCxnSpPr>
          <p:cNvPr id="74" name="Прямая со стрелкой 39"/>
          <p:cNvCxnSpPr>
            <a:cxnSpLocks noChangeShapeType="1"/>
            <a:stCxn id="71" idx="2"/>
            <a:endCxn id="22540" idx="0"/>
          </p:cNvCxnSpPr>
          <p:nvPr/>
        </p:nvCxnSpPr>
        <p:spPr bwMode="auto">
          <a:xfrm rot="16200000" flipH="1">
            <a:off x="4273321" y="1784384"/>
            <a:ext cx="370326" cy="1248094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92959061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Ручное управление:</a:t>
            </a:r>
            <a:br>
              <a:rPr lang="ru-RU"/>
            </a:br>
            <a:r>
              <a:rPr lang="ru-RU"/>
              <a:t>Правила запрета операций</a:t>
            </a:r>
            <a:endParaRPr lang="ru-RU" dirty="0"/>
          </a:p>
        </p:txBody>
      </p:sp>
      <p:sp>
        <p:nvSpPr>
          <p:cNvPr id="5" name="Прямоугольник 21"/>
          <p:cNvSpPr>
            <a:spLocks noChangeArrowheads="1"/>
          </p:cNvSpPr>
          <p:nvPr/>
        </p:nvSpPr>
        <p:spPr bwMode="auto">
          <a:xfrm>
            <a:off x="2281163" y="2709714"/>
            <a:ext cx="1541462" cy="719138"/>
          </a:xfrm>
          <a:prstGeom prst="flowChartDocumen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Заявка на оплату / РТУ</a:t>
            </a:r>
          </a:p>
        </p:txBody>
      </p:sp>
      <p:cxnSp>
        <p:nvCxnSpPr>
          <p:cNvPr id="7" name="Прямая со стрелкой 39"/>
          <p:cNvCxnSpPr>
            <a:cxnSpLocks noChangeShapeType="1"/>
            <a:stCxn id="5" idx="2"/>
            <a:endCxn id="11" idx="0"/>
          </p:cNvCxnSpPr>
          <p:nvPr/>
        </p:nvCxnSpPr>
        <p:spPr bwMode="auto">
          <a:xfrm flipH="1">
            <a:off x="3050899" y="3381309"/>
            <a:ext cx="997" cy="264286"/>
          </a:xfrm>
          <a:prstGeom prst="straightConnector1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Прямоугольник 21"/>
          <p:cNvSpPr>
            <a:spLocks noChangeArrowheads="1"/>
          </p:cNvSpPr>
          <p:nvPr/>
        </p:nvSpPr>
        <p:spPr bwMode="auto">
          <a:xfrm>
            <a:off x="510629" y="4509771"/>
            <a:ext cx="1548000" cy="720000"/>
          </a:xfrm>
          <a:prstGeom prst="flowChartOffpageConnector">
            <a:avLst/>
          </a:prstGeom>
          <a:solidFill>
            <a:srgbClr val="92D050">
              <a:alpha val="50000"/>
            </a:srgbClr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altLang="ru-RU" sz="1200" b="1" dirty="0">
                <a:solidFill>
                  <a:srgbClr val="808080"/>
                </a:solidFill>
                <a:latin typeface="Arial" charset="0"/>
              </a:rPr>
              <a:t>Согласование</a:t>
            </a:r>
          </a:p>
        </p:txBody>
      </p:sp>
      <p:sp>
        <p:nvSpPr>
          <p:cNvPr id="11" name="Блок-схема: решение 115"/>
          <p:cNvSpPr>
            <a:spLocks noChangeArrowheads="1"/>
          </p:cNvSpPr>
          <p:nvPr/>
        </p:nvSpPr>
        <p:spPr bwMode="auto">
          <a:xfrm>
            <a:off x="2060897" y="3645595"/>
            <a:ext cx="1980000" cy="792000"/>
          </a:xfrm>
          <a:prstGeom prst="flowChartDecision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1200" b="1" dirty="0">
                <a:solidFill>
                  <a:srgbClr val="808080"/>
                </a:solidFill>
              </a:rPr>
              <a:t>Под запретом?</a:t>
            </a:r>
          </a:p>
        </p:txBody>
      </p:sp>
      <p:sp>
        <p:nvSpPr>
          <p:cNvPr id="12" name="TextBox 118"/>
          <p:cNvSpPr txBox="1">
            <a:spLocks noChangeArrowheads="1"/>
          </p:cNvSpPr>
          <p:nvPr/>
        </p:nvSpPr>
        <p:spPr bwMode="auto">
          <a:xfrm>
            <a:off x="4113945" y="3690832"/>
            <a:ext cx="4381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>
                <a:solidFill>
                  <a:srgbClr val="808080"/>
                </a:solidFill>
              </a:rPr>
              <a:t>Да</a:t>
            </a:r>
            <a:endParaRPr lang="ru-RU" altLang="ru-RU" sz="2800" dirty="0">
              <a:solidFill>
                <a:srgbClr val="808080"/>
              </a:solidFill>
            </a:endParaRPr>
          </a:p>
        </p:txBody>
      </p:sp>
      <p:cxnSp>
        <p:nvCxnSpPr>
          <p:cNvPr id="13" name="Прямая со стрелкой 39"/>
          <p:cNvCxnSpPr>
            <a:cxnSpLocks noChangeShapeType="1"/>
            <a:stCxn id="11" idx="3"/>
            <a:endCxn id="14" idx="0"/>
          </p:cNvCxnSpPr>
          <p:nvPr/>
        </p:nvCxnSpPr>
        <p:spPr bwMode="auto">
          <a:xfrm>
            <a:off x="4040897" y="4041595"/>
            <a:ext cx="709634" cy="468176"/>
          </a:xfrm>
          <a:prstGeom prst="bentConnector2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Блок-схема: знак завершения 13"/>
          <p:cNvSpPr/>
          <p:nvPr/>
        </p:nvSpPr>
        <p:spPr bwMode="auto">
          <a:xfrm>
            <a:off x="4174270" y="4509771"/>
            <a:ext cx="1152525" cy="515938"/>
          </a:xfrm>
          <a:prstGeom prst="flowChartTerminator">
            <a:avLst/>
          </a:prstGeom>
          <a:solidFill>
            <a:srgbClr val="FC6E51">
              <a:alpha val="5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r>
              <a:rPr lang="ru-RU" sz="1200" b="1" dirty="0">
                <a:solidFill>
                  <a:srgbClr val="808080"/>
                </a:solidFill>
              </a:rPr>
              <a:t>Отказ</a:t>
            </a:r>
          </a:p>
        </p:txBody>
      </p:sp>
      <p:cxnSp>
        <p:nvCxnSpPr>
          <p:cNvPr id="15" name="Прямая со стрелкой 39"/>
          <p:cNvCxnSpPr>
            <a:cxnSpLocks noChangeShapeType="1"/>
            <a:stCxn id="11" idx="1"/>
            <a:endCxn id="10" idx="0"/>
          </p:cNvCxnSpPr>
          <p:nvPr/>
        </p:nvCxnSpPr>
        <p:spPr bwMode="auto">
          <a:xfrm rot="10800000" flipV="1">
            <a:off x="1284629" y="4041595"/>
            <a:ext cx="776268" cy="468176"/>
          </a:xfrm>
          <a:prstGeom prst="bentConnector2">
            <a:avLst/>
          </a:prstGeom>
          <a:noFill/>
          <a:ln w="19050" algn="ctr">
            <a:solidFill>
              <a:schemeClr val="bg2">
                <a:lumMod val="75000"/>
              </a:schemeClr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29"/>
          <p:cNvSpPr txBox="1">
            <a:spLocks noChangeArrowheads="1"/>
          </p:cNvSpPr>
          <p:nvPr/>
        </p:nvSpPr>
        <p:spPr bwMode="auto">
          <a:xfrm>
            <a:off x="1549673" y="3696643"/>
            <a:ext cx="534988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>
                <a:solidFill>
                  <a:srgbClr val="808080"/>
                </a:solidFill>
              </a:rPr>
              <a:t>Нет</a:t>
            </a:r>
            <a:endParaRPr lang="ru-RU" altLang="ru-RU" sz="2800" dirty="0">
              <a:solidFill>
                <a:srgbClr val="80808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5878" y="2237363"/>
            <a:ext cx="5616325" cy="36270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49321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10"/>
          <p:cNvPicPr>
            <a:picLocks noChangeAspect="1" noChangeArrowheads="1"/>
          </p:cNvPicPr>
          <p:nvPr/>
        </p:nvPicPr>
        <p:blipFill>
          <a:blip r:embed="rId3"/>
          <a:srcRect t="19135" b="4207"/>
          <a:stretch>
            <a:fillRect/>
          </a:stretch>
        </p:blipFill>
        <p:spPr bwMode="auto">
          <a:xfrm>
            <a:off x="1525587" y="1126334"/>
            <a:ext cx="9144000" cy="3686175"/>
          </a:xfrm>
          <a:prstGeom prst="rect">
            <a:avLst/>
          </a:prstGeom>
          <a:noFill/>
          <a:ln>
            <a:noFill/>
          </a:ln>
          <a:effectLst>
            <a:outerShdw blurRad="127000" dist="35921" dir="5400000" sx="103000" sy="103000" algn="ctr" rotWithShape="0">
              <a:schemeClr val="bg2">
                <a:alpha val="7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561083" y="5192827"/>
            <a:ext cx="87122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808080"/>
                </a:solidFill>
                <a:latin typeface="Arial" charset="0"/>
              </a:rPr>
              <a:t>Настройка маршрута в пользовательском режиме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808080"/>
                </a:solidFill>
                <a:latin typeface="Arial" charset="0"/>
              </a:rPr>
              <a:t>Произвольные условия ветвления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808080"/>
                </a:solidFill>
                <a:latin typeface="Arial" charset="0"/>
              </a:rPr>
              <a:t>Ожидание наступления событий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808080"/>
                </a:solidFill>
                <a:latin typeface="Arial" charset="0"/>
              </a:rPr>
              <a:t>Ролевая адресация</a:t>
            </a:r>
            <a:endParaRPr lang="en-US" altLang="ru-RU" kern="0" dirty="0">
              <a:solidFill>
                <a:srgbClr val="808080"/>
              </a:solidFill>
              <a:latin typeface="Arial" charset="0"/>
            </a:endParaRPr>
          </a:p>
        </p:txBody>
      </p:sp>
      <p:sp>
        <p:nvSpPr>
          <p:cNvPr id="2253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Согласование по произвольному маршруту</a:t>
            </a:r>
          </a:p>
        </p:txBody>
      </p:sp>
      <p:grpSp>
        <p:nvGrpSpPr>
          <p:cNvPr id="5" name="Группа 5"/>
          <p:cNvGrpSpPr>
            <a:grpSpLocks/>
          </p:cNvGrpSpPr>
          <p:nvPr/>
        </p:nvGrpSpPr>
        <p:grpSpPr bwMode="auto">
          <a:xfrm>
            <a:off x="7465739" y="2039022"/>
            <a:ext cx="3168352" cy="4820567"/>
            <a:chOff x="4822234" y="895350"/>
            <a:chExt cx="3926230" cy="5976000"/>
          </a:xfrm>
        </p:grpSpPr>
        <p:pic>
          <p:nvPicPr>
            <p:cNvPr id="6" name="Picture 10" descr="Рисунок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2234" y="895350"/>
              <a:ext cx="3926230" cy="59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Рисунок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8144" y="1707150"/>
              <a:ext cx="1946524" cy="34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5552554"/>
      </p:ext>
    </p:extLst>
  </p:cSld>
  <p:clrMapOvr>
    <a:masterClrMapping/>
  </p:clrMapOvr>
  <p:transition spd="slow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вязь с контурами учета зарплаты и уплаты налогов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988873" y="1429807"/>
            <a:ext cx="1330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ЗУП КОРП</a:t>
            </a:r>
          </a:p>
        </p:txBody>
      </p:sp>
      <p:sp>
        <p:nvSpPr>
          <p:cNvPr id="11" name="Блок-схема: документ 10"/>
          <p:cNvSpPr/>
          <p:nvPr/>
        </p:nvSpPr>
        <p:spPr>
          <a:xfrm>
            <a:off x="1132922" y="1830010"/>
            <a:ext cx="1440493" cy="1027920"/>
          </a:xfrm>
          <a:prstGeom prst="flowChartDocumen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Ведомость на выплату з/п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592155" y="2041588"/>
            <a:ext cx="2088085" cy="57619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омощник учета зарплаты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6875473" y="2024097"/>
            <a:ext cx="2088085" cy="57619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омощник уплаты налогов</a:t>
            </a:r>
          </a:p>
        </p:txBody>
      </p:sp>
      <p:sp>
        <p:nvSpPr>
          <p:cNvPr id="34" name="Блок-схема: документ 33"/>
          <p:cNvSpPr/>
          <p:nvPr/>
        </p:nvSpPr>
        <p:spPr>
          <a:xfrm>
            <a:off x="4987976" y="3804459"/>
            <a:ext cx="1296444" cy="1027920"/>
          </a:xfrm>
          <a:prstGeom prst="flowChartDocumen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аявка на оплату</a:t>
            </a:r>
          </a:p>
        </p:txBody>
      </p:sp>
      <p:sp>
        <p:nvSpPr>
          <p:cNvPr id="35" name="Блок-схема: документ 34"/>
          <p:cNvSpPr/>
          <p:nvPr/>
        </p:nvSpPr>
        <p:spPr>
          <a:xfrm>
            <a:off x="4987977" y="5230064"/>
            <a:ext cx="1296444" cy="1027920"/>
          </a:xfrm>
          <a:prstGeom prst="flowChartDocumen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латежное поручение</a:t>
            </a:r>
          </a:p>
        </p:txBody>
      </p:sp>
      <p:cxnSp>
        <p:nvCxnSpPr>
          <p:cNvPr id="36" name="Прямая со стрелкой 15"/>
          <p:cNvCxnSpPr>
            <a:stCxn id="31" idx="2"/>
            <a:endCxn id="34" idx="0"/>
          </p:cNvCxnSpPr>
          <p:nvPr/>
        </p:nvCxnSpPr>
        <p:spPr bwMode="auto">
          <a:xfrm>
            <a:off x="5636198" y="2617785"/>
            <a:ext cx="0" cy="1186674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222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 стрелкой 15"/>
          <p:cNvCxnSpPr>
            <a:stCxn id="32" idx="2"/>
            <a:endCxn id="34" idx="3"/>
          </p:cNvCxnSpPr>
          <p:nvPr/>
        </p:nvCxnSpPr>
        <p:spPr bwMode="auto">
          <a:xfrm rot="5400000">
            <a:off x="6242906" y="2641808"/>
            <a:ext cx="1718125" cy="1635096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2222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 стрелкой 15"/>
          <p:cNvCxnSpPr>
            <a:stCxn id="34" idx="2"/>
            <a:endCxn id="35" idx="0"/>
          </p:cNvCxnSpPr>
          <p:nvPr/>
        </p:nvCxnSpPr>
        <p:spPr bwMode="auto">
          <a:xfrm>
            <a:off x="5636199" y="4764422"/>
            <a:ext cx="1" cy="465642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222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/>
          <p:cNvSpPr txBox="1"/>
          <p:nvPr/>
        </p:nvSpPr>
        <p:spPr>
          <a:xfrm>
            <a:off x="4734155" y="1433423"/>
            <a:ext cx="1118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УХ 3.2</a:t>
            </a:r>
          </a:p>
        </p:txBody>
      </p:sp>
      <p:cxnSp>
        <p:nvCxnSpPr>
          <p:cNvPr id="43" name="Прямая со стрелкой 15"/>
          <p:cNvCxnSpPr>
            <a:stCxn id="11" idx="3"/>
            <a:endCxn id="34" idx="1"/>
          </p:cNvCxnSpPr>
          <p:nvPr/>
        </p:nvCxnSpPr>
        <p:spPr bwMode="auto">
          <a:xfrm>
            <a:off x="2573416" y="2343970"/>
            <a:ext cx="2414561" cy="1974449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2222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12389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4" grpId="0" animBg="1"/>
      <p:bldP spid="35" grpId="0" animBg="1"/>
      <p:bldP spid="4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Сквозной процесс осуществления платежей</a:t>
            </a:r>
          </a:p>
        </p:txBody>
      </p:sp>
      <p:sp>
        <p:nvSpPr>
          <p:cNvPr id="2" name="Блок-схема: документ 1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42" name="Блок-схема: документ 41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43" name="Блок-схема: документ 42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44" name="Блок-схема: документ 43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еестр платежей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Обмен с банками</a:t>
            </a:r>
          </a:p>
        </p:txBody>
      </p:sp>
      <p:sp>
        <p:nvSpPr>
          <p:cNvPr id="47" name="Блок-схема: документ 46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азнесение выписки</a:t>
            </a:r>
          </a:p>
        </p:txBody>
      </p:sp>
      <p:cxnSp>
        <p:nvCxnSpPr>
          <p:cNvPr id="5" name="Прямая со стрелкой 4"/>
          <p:cNvCxnSpPr>
            <a:stCxn id="2" idx="3"/>
            <a:endCxn id="29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4"/>
          <p:cNvCxnSpPr>
            <a:stCxn id="42" idx="3"/>
            <a:endCxn id="29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4"/>
          <p:cNvCxnSpPr>
            <a:stCxn id="43" idx="3"/>
            <a:endCxn id="3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4"/>
          <p:cNvCxnSpPr>
            <a:stCxn id="3" idx="3"/>
            <a:endCxn id="44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4"/>
          <p:cNvCxnSpPr>
            <a:stCxn id="44" idx="2"/>
            <a:endCxn id="47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4"/>
          <p:cNvCxnSpPr>
            <a:stCxn id="47" idx="1"/>
            <a:endCxn id="46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4"/>
          <p:cNvCxnSpPr>
            <a:stCxn id="46" idx="1"/>
            <a:endCxn id="48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4"/>
          <p:cNvCxnSpPr>
            <a:stCxn id="48" idx="1"/>
            <a:endCxn id="49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Блок-схема: документ 35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39" name="Прямая со стрелкой 4"/>
          <p:cNvCxnSpPr>
            <a:stCxn id="36" idx="3"/>
            <a:endCxn id="3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Блок-схема: узел 28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50" name="Прямая со стрелкой 4"/>
          <p:cNvCxnSpPr>
            <a:stCxn id="29" idx="6"/>
            <a:endCxn id="43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29" idx="6"/>
            <a:endCxn id="36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0308827"/>
      </p:ext>
    </p:extLst>
  </p:cSld>
  <p:clrMapOvr>
    <a:masterClrMapping/>
  </p:clrMapOvr>
  <p:transition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дтверждающие документы </a:t>
            </a:r>
            <a:br>
              <a:rPr lang="ru-RU" dirty="0"/>
            </a:br>
            <a:r>
              <a:rPr lang="ru-RU" dirty="0"/>
              <a:t>в заявках на оплату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3548" y="5662931"/>
            <a:ext cx="11906889" cy="1152023"/>
          </a:xfrm>
        </p:spPr>
        <p:txBody>
          <a:bodyPr/>
          <a:lstStyle/>
          <a:p>
            <a:r>
              <a:rPr lang="ru-RU" sz="1600" dirty="0"/>
              <a:t>Список видов документов задается для вида операции</a:t>
            </a:r>
          </a:p>
          <a:p>
            <a:r>
              <a:rPr lang="ru-RU" sz="1600" dirty="0"/>
              <a:t>Документ системы либо скан</a:t>
            </a:r>
          </a:p>
          <a:p>
            <a:r>
              <a:rPr lang="ru-RU" sz="1600" dirty="0"/>
              <a:t>Проверка наличия документа при проведении заявки либо в маршруте согласования</a:t>
            </a:r>
          </a:p>
          <a:p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50</a:t>
            </a:fld>
            <a:endParaRPr lang="ru-RU" alt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14" y="1421447"/>
            <a:ext cx="5833998" cy="39000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3785" y="1411693"/>
            <a:ext cx="5271955" cy="16607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7147" y="3213720"/>
            <a:ext cx="7702570" cy="2249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8918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Управление ликвидностью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6739970"/>
      </p:ext>
    </p:extLst>
  </p:cSld>
  <p:clrMapOvr>
    <a:masterClrMapping/>
  </p:clrMapOvr>
  <p:transition spd="slow"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абрика платежей: до…</a:t>
            </a:r>
          </a:p>
        </p:txBody>
      </p:sp>
      <p:sp>
        <p:nvSpPr>
          <p:cNvPr id="4" name="Freeform 99"/>
          <p:cNvSpPr>
            <a:spLocks noChangeAspect="1" noEditPoints="1"/>
          </p:cNvSpPr>
          <p:nvPr/>
        </p:nvSpPr>
        <p:spPr bwMode="auto">
          <a:xfrm>
            <a:off x="8617867" y="1991436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Freeform 99"/>
          <p:cNvSpPr>
            <a:spLocks noChangeAspect="1" noEditPoints="1"/>
          </p:cNvSpPr>
          <p:nvPr/>
        </p:nvSpPr>
        <p:spPr bwMode="auto">
          <a:xfrm>
            <a:off x="8617867" y="4016448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Freeform 99"/>
          <p:cNvSpPr>
            <a:spLocks noChangeAspect="1" noEditPoints="1"/>
          </p:cNvSpPr>
          <p:nvPr/>
        </p:nvSpPr>
        <p:spPr bwMode="auto">
          <a:xfrm>
            <a:off x="4585419" y="5734050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10" name="Freeform 99"/>
          <p:cNvSpPr>
            <a:spLocks noChangeAspect="1" noEditPoints="1"/>
          </p:cNvSpPr>
          <p:nvPr/>
        </p:nvSpPr>
        <p:spPr bwMode="auto">
          <a:xfrm>
            <a:off x="925333" y="4007522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12" name="Freeform 99"/>
          <p:cNvSpPr>
            <a:spLocks noChangeAspect="1" noEditPoints="1"/>
          </p:cNvSpPr>
          <p:nvPr/>
        </p:nvSpPr>
        <p:spPr bwMode="auto">
          <a:xfrm>
            <a:off x="1129035" y="2060810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929235" y="1629594"/>
            <a:ext cx="2232248" cy="1585008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</a:t>
            </a:r>
            <a:r>
              <a:rPr lang="ru-RU" dirty="0" err="1">
                <a:solidFill>
                  <a:srgbClr val="808080"/>
                </a:solidFill>
              </a:rPr>
              <a:t>РиК</a:t>
            </a:r>
            <a:r>
              <a:rPr lang="ru-RU" dirty="0">
                <a:solidFill>
                  <a:srgbClr val="808080"/>
                </a:solidFill>
              </a:rPr>
              <a:t>»</a:t>
            </a:r>
          </a:p>
        </p:txBody>
      </p:sp>
      <p:sp>
        <p:nvSpPr>
          <p:cNvPr id="13" name="Блок-схема: магнитный диск 12"/>
          <p:cNvSpPr/>
          <p:nvPr/>
        </p:nvSpPr>
        <p:spPr>
          <a:xfrm>
            <a:off x="3289275" y="2134482"/>
            <a:ext cx="1440160" cy="1008112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БП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449515" y="1629594"/>
            <a:ext cx="2232248" cy="1585008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Вектор»</a:t>
            </a:r>
          </a:p>
        </p:txBody>
      </p:sp>
      <p:sp>
        <p:nvSpPr>
          <p:cNvPr id="15" name="Блок-схема: магнитный диск 14"/>
          <p:cNvSpPr/>
          <p:nvPr/>
        </p:nvSpPr>
        <p:spPr>
          <a:xfrm>
            <a:off x="5809555" y="2134482"/>
            <a:ext cx="1440160" cy="1008112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</a:t>
            </a:r>
            <a:r>
              <a:rPr lang="en-US" dirty="0">
                <a:solidFill>
                  <a:srgbClr val="808080"/>
                </a:solidFill>
              </a:rPr>
              <a:t>ERP</a:t>
            </a:r>
            <a:endParaRPr lang="ru-RU" dirty="0">
              <a:solidFill>
                <a:srgbClr val="80808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929235" y="3502634"/>
            <a:ext cx="2232248" cy="1585008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Ромашка»</a:t>
            </a:r>
          </a:p>
        </p:txBody>
      </p:sp>
      <p:sp>
        <p:nvSpPr>
          <p:cNvPr id="17" name="Блок-схема: магнитный диск 16"/>
          <p:cNvSpPr/>
          <p:nvPr/>
        </p:nvSpPr>
        <p:spPr>
          <a:xfrm>
            <a:off x="3289275" y="4007522"/>
            <a:ext cx="1440160" cy="1008112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БП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49515" y="3502634"/>
            <a:ext cx="2232248" cy="1585008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Сон купца»</a:t>
            </a:r>
          </a:p>
        </p:txBody>
      </p:sp>
      <p:sp>
        <p:nvSpPr>
          <p:cNvPr id="19" name="Блок-схема: магнитный диск 18"/>
          <p:cNvSpPr/>
          <p:nvPr/>
        </p:nvSpPr>
        <p:spPr>
          <a:xfrm>
            <a:off x="5809555" y="4007522"/>
            <a:ext cx="1440160" cy="1008112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КА</a:t>
            </a:r>
          </a:p>
        </p:txBody>
      </p:sp>
      <p:cxnSp>
        <p:nvCxnSpPr>
          <p:cNvPr id="21" name="Прямая со стрелкой 20"/>
          <p:cNvCxnSpPr>
            <a:stCxn id="3" idx="1"/>
          </p:cNvCxnSpPr>
          <p:nvPr/>
        </p:nvCxnSpPr>
        <p:spPr>
          <a:xfrm flipH="1">
            <a:off x="1993131" y="2422098"/>
            <a:ext cx="936104" cy="0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>
            <a:stCxn id="3" idx="1"/>
          </p:cNvCxnSpPr>
          <p:nvPr/>
        </p:nvCxnSpPr>
        <p:spPr>
          <a:xfrm flipH="1">
            <a:off x="1905217" y="2422098"/>
            <a:ext cx="1024018" cy="1655768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H="1">
            <a:off x="1993131" y="4434275"/>
            <a:ext cx="936104" cy="0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6" idx="2"/>
          </p:cNvCxnSpPr>
          <p:nvPr/>
        </p:nvCxnSpPr>
        <p:spPr>
          <a:xfrm>
            <a:off x="4045359" y="5087642"/>
            <a:ext cx="684076" cy="646408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18" idx="2"/>
          </p:cNvCxnSpPr>
          <p:nvPr/>
        </p:nvCxnSpPr>
        <p:spPr>
          <a:xfrm flipH="1">
            <a:off x="5579721" y="5087642"/>
            <a:ext cx="985918" cy="646408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7660834" y="2487563"/>
            <a:ext cx="1008112" cy="11305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7681763" y="2542794"/>
            <a:ext cx="987183" cy="1679088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14" idx="0"/>
          </p:cNvCxnSpPr>
          <p:nvPr/>
        </p:nvCxnSpPr>
        <p:spPr>
          <a:xfrm rot="16200000" flipH="1" flipV="1">
            <a:off x="4027148" y="-404423"/>
            <a:ext cx="504474" cy="4572508"/>
          </a:xfrm>
          <a:prstGeom prst="bentConnector4">
            <a:avLst>
              <a:gd name="adj1" fmla="val -45315"/>
              <a:gd name="adj2" fmla="val 85645"/>
            </a:avLst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>
            <a:stCxn id="18" idx="3"/>
          </p:cNvCxnSpPr>
          <p:nvPr/>
        </p:nvCxnSpPr>
        <p:spPr>
          <a:xfrm>
            <a:off x="7681763" y="4295138"/>
            <a:ext cx="850286" cy="0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67787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…и после</a:t>
            </a:r>
          </a:p>
        </p:txBody>
      </p:sp>
      <p:sp>
        <p:nvSpPr>
          <p:cNvPr id="4" name="Freeform 99"/>
          <p:cNvSpPr>
            <a:spLocks noChangeAspect="1" noEditPoints="1"/>
          </p:cNvSpPr>
          <p:nvPr/>
        </p:nvSpPr>
        <p:spPr bwMode="auto">
          <a:xfrm>
            <a:off x="8977907" y="2296135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Freeform 99"/>
          <p:cNvSpPr>
            <a:spLocks noChangeAspect="1" noEditPoints="1"/>
          </p:cNvSpPr>
          <p:nvPr/>
        </p:nvSpPr>
        <p:spPr bwMode="auto">
          <a:xfrm>
            <a:off x="8977907" y="4407261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Freeform 99"/>
          <p:cNvSpPr>
            <a:spLocks noChangeAspect="1" noEditPoints="1"/>
          </p:cNvSpPr>
          <p:nvPr/>
        </p:nvSpPr>
        <p:spPr bwMode="auto">
          <a:xfrm>
            <a:off x="8617030" y="5462825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10" name="Freeform 99"/>
          <p:cNvSpPr>
            <a:spLocks noChangeAspect="1" noEditPoints="1"/>
          </p:cNvSpPr>
          <p:nvPr/>
        </p:nvSpPr>
        <p:spPr bwMode="auto">
          <a:xfrm>
            <a:off x="9193931" y="3351698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12" name="Freeform 99"/>
          <p:cNvSpPr>
            <a:spLocks noChangeAspect="1" noEditPoints="1"/>
          </p:cNvSpPr>
          <p:nvPr/>
        </p:nvSpPr>
        <p:spPr bwMode="auto">
          <a:xfrm>
            <a:off x="8617030" y="1240572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64939" y="1197546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</a:t>
            </a:r>
            <a:r>
              <a:rPr lang="ru-RU" dirty="0" err="1">
                <a:solidFill>
                  <a:srgbClr val="808080"/>
                </a:solidFill>
              </a:rPr>
              <a:t>РиК</a:t>
            </a:r>
            <a:r>
              <a:rPr lang="ru-RU" dirty="0">
                <a:solidFill>
                  <a:srgbClr val="808080"/>
                </a:solidFill>
              </a:rPr>
              <a:t>»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4939" y="3885844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Вектор»</a:t>
            </a:r>
          </a:p>
        </p:txBody>
      </p:sp>
      <p:sp>
        <p:nvSpPr>
          <p:cNvPr id="15" name="Блок-схема: магнитный диск 14"/>
          <p:cNvSpPr/>
          <p:nvPr/>
        </p:nvSpPr>
        <p:spPr>
          <a:xfrm>
            <a:off x="696987" y="4293890"/>
            <a:ext cx="1440160" cy="576896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</a:t>
            </a:r>
            <a:r>
              <a:rPr lang="en-US" dirty="0">
                <a:solidFill>
                  <a:srgbClr val="808080"/>
                </a:solidFill>
              </a:rPr>
              <a:t>ERP</a:t>
            </a:r>
            <a:endParaRPr lang="ru-RU" dirty="0">
              <a:solidFill>
                <a:srgbClr val="80808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4939" y="2541695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Ромашка»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64939" y="5229994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Сон купца»</a:t>
            </a:r>
          </a:p>
        </p:txBody>
      </p:sp>
      <p:sp>
        <p:nvSpPr>
          <p:cNvPr id="19" name="Блок-схема: магнитный диск 18"/>
          <p:cNvSpPr/>
          <p:nvPr/>
        </p:nvSpPr>
        <p:spPr>
          <a:xfrm>
            <a:off x="696987" y="5618353"/>
            <a:ext cx="1440160" cy="542450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КА</a:t>
            </a:r>
          </a:p>
        </p:txBody>
      </p:sp>
      <p:cxnSp>
        <p:nvCxnSpPr>
          <p:cNvPr id="33" name="Прямая со стрелкой 32"/>
          <p:cNvCxnSpPr>
            <a:stCxn id="25" idx="4"/>
          </p:cNvCxnSpPr>
          <p:nvPr/>
        </p:nvCxnSpPr>
        <p:spPr>
          <a:xfrm flipV="1">
            <a:off x="6313611" y="3778451"/>
            <a:ext cx="2448272" cy="11799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Блок-схема: магнитный диск 24"/>
          <p:cNvSpPr/>
          <p:nvPr/>
        </p:nvSpPr>
        <p:spPr>
          <a:xfrm>
            <a:off x="3513705" y="1269554"/>
            <a:ext cx="2799906" cy="5041392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УХ</a:t>
            </a:r>
          </a:p>
        </p:txBody>
      </p:sp>
      <p:cxnSp>
        <p:nvCxnSpPr>
          <p:cNvPr id="28" name="Прямая со стрелкой 27"/>
          <p:cNvCxnSpPr>
            <a:stCxn id="25" idx="4"/>
          </p:cNvCxnSpPr>
          <p:nvPr/>
        </p:nvCxnSpPr>
        <p:spPr>
          <a:xfrm flipV="1">
            <a:off x="6313611" y="2094078"/>
            <a:ext cx="2232248" cy="1696172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5" idx="4"/>
          </p:cNvCxnSpPr>
          <p:nvPr/>
        </p:nvCxnSpPr>
        <p:spPr>
          <a:xfrm>
            <a:off x="6313611" y="3790250"/>
            <a:ext cx="2303419" cy="1796607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>
            <a:stCxn id="25" idx="4"/>
          </p:cNvCxnSpPr>
          <p:nvPr/>
        </p:nvCxnSpPr>
        <p:spPr>
          <a:xfrm>
            <a:off x="6313611" y="3790250"/>
            <a:ext cx="2303419" cy="894459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stCxn id="25" idx="4"/>
          </p:cNvCxnSpPr>
          <p:nvPr/>
        </p:nvCxnSpPr>
        <p:spPr>
          <a:xfrm flipV="1">
            <a:off x="6313611" y="2948528"/>
            <a:ext cx="2303419" cy="841722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2136729" y="4554718"/>
            <a:ext cx="1376976" cy="21370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V="1">
            <a:off x="2136729" y="5662042"/>
            <a:ext cx="1376976" cy="288032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94223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 можно и так</a:t>
            </a:r>
          </a:p>
        </p:txBody>
      </p:sp>
      <p:sp>
        <p:nvSpPr>
          <p:cNvPr id="4" name="Freeform 99"/>
          <p:cNvSpPr>
            <a:spLocks noChangeAspect="1" noEditPoints="1"/>
          </p:cNvSpPr>
          <p:nvPr/>
        </p:nvSpPr>
        <p:spPr bwMode="auto">
          <a:xfrm>
            <a:off x="8977907" y="2296135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Freeform 99"/>
          <p:cNvSpPr>
            <a:spLocks noChangeAspect="1" noEditPoints="1"/>
          </p:cNvSpPr>
          <p:nvPr/>
        </p:nvSpPr>
        <p:spPr bwMode="auto">
          <a:xfrm>
            <a:off x="8977907" y="4407261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Freeform 99"/>
          <p:cNvSpPr>
            <a:spLocks noChangeAspect="1" noEditPoints="1"/>
          </p:cNvSpPr>
          <p:nvPr/>
        </p:nvSpPr>
        <p:spPr bwMode="auto">
          <a:xfrm>
            <a:off x="8617030" y="5462825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10" name="Freeform 99"/>
          <p:cNvSpPr>
            <a:spLocks noChangeAspect="1" noEditPoints="1"/>
          </p:cNvSpPr>
          <p:nvPr/>
        </p:nvSpPr>
        <p:spPr bwMode="auto">
          <a:xfrm>
            <a:off x="9193931" y="3351698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12" name="Freeform 99"/>
          <p:cNvSpPr>
            <a:spLocks noChangeAspect="1" noEditPoints="1"/>
          </p:cNvSpPr>
          <p:nvPr/>
        </p:nvSpPr>
        <p:spPr bwMode="auto">
          <a:xfrm>
            <a:off x="8617030" y="1240572"/>
            <a:ext cx="864096" cy="853506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64939" y="1197546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</a:t>
            </a:r>
            <a:r>
              <a:rPr lang="ru-RU" dirty="0" err="1">
                <a:solidFill>
                  <a:srgbClr val="808080"/>
                </a:solidFill>
              </a:rPr>
              <a:t>РиК</a:t>
            </a:r>
            <a:r>
              <a:rPr lang="ru-RU" dirty="0">
                <a:solidFill>
                  <a:srgbClr val="808080"/>
                </a:solidFill>
              </a:rPr>
              <a:t>»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4939" y="3885844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Вектор»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4939" y="2541695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Ромашка»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64939" y="5229994"/>
            <a:ext cx="6120680" cy="1080000"/>
          </a:xfrm>
          <a:prstGeom prst="roundRect">
            <a:avLst/>
          </a:prstGeom>
          <a:solidFill>
            <a:srgbClr val="A6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rgbClr val="808080"/>
                </a:solidFill>
              </a:rPr>
              <a:t>ООО «Сон купца»</a:t>
            </a:r>
          </a:p>
        </p:txBody>
      </p:sp>
      <p:cxnSp>
        <p:nvCxnSpPr>
          <p:cNvPr id="33" name="Прямая со стрелкой 32"/>
          <p:cNvCxnSpPr>
            <a:stCxn id="25" idx="4"/>
          </p:cNvCxnSpPr>
          <p:nvPr/>
        </p:nvCxnSpPr>
        <p:spPr>
          <a:xfrm flipV="1">
            <a:off x="6313611" y="3778451"/>
            <a:ext cx="2448272" cy="11799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Блок-схема: магнитный диск 24"/>
          <p:cNvSpPr/>
          <p:nvPr/>
        </p:nvSpPr>
        <p:spPr>
          <a:xfrm>
            <a:off x="3513705" y="1269554"/>
            <a:ext cx="2799906" cy="5041392"/>
          </a:xfrm>
          <a:prstGeom prst="flowChartMagneticDisk">
            <a:avLst/>
          </a:prstGeom>
          <a:solidFill>
            <a:srgbClr val="DBFDAA"/>
          </a:solidFill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1С:</a:t>
            </a:r>
            <a:r>
              <a:rPr lang="en-US" dirty="0">
                <a:solidFill>
                  <a:srgbClr val="808080"/>
                </a:solidFill>
              </a:rPr>
              <a:t>ERP</a:t>
            </a:r>
            <a:r>
              <a:rPr lang="ru-RU" dirty="0">
                <a:solidFill>
                  <a:srgbClr val="808080"/>
                </a:solidFill>
              </a:rPr>
              <a:t>.УХ</a:t>
            </a:r>
          </a:p>
        </p:txBody>
      </p:sp>
      <p:cxnSp>
        <p:nvCxnSpPr>
          <p:cNvPr id="28" name="Прямая со стрелкой 27"/>
          <p:cNvCxnSpPr>
            <a:stCxn id="25" idx="4"/>
          </p:cNvCxnSpPr>
          <p:nvPr/>
        </p:nvCxnSpPr>
        <p:spPr>
          <a:xfrm flipV="1">
            <a:off x="6313611" y="2094078"/>
            <a:ext cx="2232248" cy="1696172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5" idx="4"/>
          </p:cNvCxnSpPr>
          <p:nvPr/>
        </p:nvCxnSpPr>
        <p:spPr>
          <a:xfrm>
            <a:off x="6313611" y="3790250"/>
            <a:ext cx="2303419" cy="1796607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>
            <a:stCxn id="25" idx="4"/>
          </p:cNvCxnSpPr>
          <p:nvPr/>
        </p:nvCxnSpPr>
        <p:spPr>
          <a:xfrm>
            <a:off x="6313611" y="3790250"/>
            <a:ext cx="2303419" cy="894459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stCxn id="25" idx="4"/>
          </p:cNvCxnSpPr>
          <p:nvPr/>
        </p:nvCxnSpPr>
        <p:spPr>
          <a:xfrm flipV="1">
            <a:off x="6313611" y="2948528"/>
            <a:ext cx="2303419" cy="841722"/>
          </a:xfrm>
          <a:prstGeom prst="straightConnector1">
            <a:avLst/>
          </a:prstGeom>
          <a:ln w="25400">
            <a:solidFill>
              <a:srgbClr val="808080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84214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ффект от создания фабрики платежей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solidFill>
                  <a:srgbClr val="FC6E51"/>
                </a:solidFill>
              </a:rPr>
              <a:t>Снижение нагрузки </a:t>
            </a:r>
            <a:r>
              <a:rPr lang="ru-RU" dirty="0"/>
              <a:t>на ДЗО</a:t>
            </a:r>
          </a:p>
          <a:p>
            <a:r>
              <a:rPr lang="ru-RU" dirty="0">
                <a:solidFill>
                  <a:srgbClr val="FC6E51"/>
                </a:solidFill>
              </a:rPr>
              <a:t>Более выгодные </a:t>
            </a:r>
            <a:r>
              <a:rPr lang="ru-RU" dirty="0"/>
              <a:t>условия работы с банками</a:t>
            </a:r>
          </a:p>
          <a:p>
            <a:r>
              <a:rPr lang="ru-RU" dirty="0">
                <a:solidFill>
                  <a:srgbClr val="FC6E51"/>
                </a:solidFill>
              </a:rPr>
              <a:t>Унификация</a:t>
            </a:r>
            <a:r>
              <a:rPr lang="ru-RU" dirty="0"/>
              <a:t> бизнес-процессов</a:t>
            </a:r>
          </a:p>
          <a:p>
            <a:r>
              <a:rPr lang="ru-RU" dirty="0">
                <a:solidFill>
                  <a:srgbClr val="FC6E51"/>
                </a:solidFill>
              </a:rPr>
              <a:t>Улучшение</a:t>
            </a:r>
            <a:r>
              <a:rPr lang="ru-RU" dirty="0"/>
              <a:t> процедур контроля</a:t>
            </a:r>
          </a:p>
          <a:p>
            <a:r>
              <a:rPr lang="ru-RU" dirty="0">
                <a:solidFill>
                  <a:srgbClr val="FC6E51"/>
                </a:solidFill>
              </a:rPr>
              <a:t>Повышение эффективности и качества </a:t>
            </a:r>
            <a:r>
              <a:rPr lang="ru-RU" dirty="0"/>
              <a:t>финансовых операций</a:t>
            </a:r>
          </a:p>
        </p:txBody>
      </p:sp>
    </p:spTree>
    <p:extLst>
      <p:ext uri="{BB962C8B-B14F-4D97-AF65-F5344CB8AC3E}">
        <p14:creationId xmlns:p14="http://schemas.microsoft.com/office/powerpoint/2010/main" val="28000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Сквозной процесс осуществления платежей</a:t>
            </a:r>
          </a:p>
        </p:txBody>
      </p:sp>
      <p:sp>
        <p:nvSpPr>
          <p:cNvPr id="2" name="Блок-схема: документ 1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42" name="Блок-схема: документ 41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43" name="Блок-схема: документ 42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44" name="Блок-схема: документ 43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еестр платежей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Обмен с банками</a:t>
            </a:r>
          </a:p>
        </p:txBody>
      </p:sp>
      <p:sp>
        <p:nvSpPr>
          <p:cNvPr id="47" name="Блок-схема: документ 46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азнесение выписки</a:t>
            </a:r>
          </a:p>
        </p:txBody>
      </p:sp>
      <p:cxnSp>
        <p:nvCxnSpPr>
          <p:cNvPr id="5" name="Прямая со стрелкой 4"/>
          <p:cNvCxnSpPr>
            <a:stCxn id="2" idx="3"/>
            <a:endCxn id="29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4"/>
          <p:cNvCxnSpPr>
            <a:stCxn id="42" idx="3"/>
            <a:endCxn id="29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4"/>
          <p:cNvCxnSpPr>
            <a:stCxn id="43" idx="3"/>
            <a:endCxn id="3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4"/>
          <p:cNvCxnSpPr>
            <a:stCxn id="3" idx="3"/>
            <a:endCxn id="44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4"/>
          <p:cNvCxnSpPr>
            <a:stCxn id="44" idx="2"/>
            <a:endCxn id="47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4"/>
          <p:cNvCxnSpPr>
            <a:stCxn id="47" idx="1"/>
            <a:endCxn id="46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4"/>
          <p:cNvCxnSpPr>
            <a:stCxn id="46" idx="1"/>
            <a:endCxn id="48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4"/>
          <p:cNvCxnSpPr>
            <a:stCxn id="48" idx="1"/>
            <a:endCxn id="49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Блок-схема: документ 35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39" name="Прямая со стрелкой 4"/>
          <p:cNvCxnSpPr>
            <a:stCxn id="36" idx="3"/>
            <a:endCxn id="3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Блок-схема: узел 28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50" name="Прямая со стрелкой 4"/>
          <p:cNvCxnSpPr>
            <a:stCxn id="29" idx="6"/>
            <a:endCxn id="43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29" idx="6"/>
            <a:endCxn id="36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5926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08955" y="1341562"/>
          <a:ext cx="10873208" cy="5414909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739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Интерфейс «</a:t>
                      </a:r>
                      <a:r>
                        <a:rPr lang="en-US" sz="1400" dirty="0">
                          <a:solidFill>
                            <a:srgbClr val="808080"/>
                          </a:solidFill>
                        </a:rPr>
                        <a:t>Master – Detail</a:t>
                      </a:r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»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Отображение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диаграммы денежных потоков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Группировка остатков по валютам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Г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руппировка остатков по организациям, банкам, пулам ликвидности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Краткосрочный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прогноз остатков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Среднесрочный прогноз остатков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3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Использование данных заявок на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оплату и графиков платежей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Использование данных показателей бюджетов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808080"/>
                          </a:solidFill>
                        </a:rPr>
                        <a:t>What-if</a:t>
                      </a:r>
                      <a:r>
                        <a:rPr lang="en-US" sz="1400" baseline="0" dirty="0">
                          <a:solidFill>
                            <a:srgbClr val="808080"/>
                          </a:solidFill>
                        </a:rPr>
                        <a:t> 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анализ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marL="0" marR="0" lvl="0" indent="0" algn="l" defTabSz="9145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Поддержка платежных дней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marL="0" marR="0" lvl="0" indent="0" algn="l" defTabSz="9145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Планирование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перевода собственных средств и конвертации валюты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marL="0" marR="0" lvl="0" indent="0" algn="l" defTabSz="9145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Планирование операций по кредитам,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займам, депозитам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Автоматическое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распределение заявок по банковским счетам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Оптимизатор платежного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календаря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Стресс-тестирование ликвидности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</a:rPr>
                        <a:t>Оценка влияния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</a:rPr>
                        <a:t> приостановки платежей и поступлений на платежеспособность</a:t>
                      </a:r>
                      <a:endParaRPr lang="ru-RU" sz="1400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5" name="Freeform 67"/>
          <p:cNvSpPr>
            <a:spLocks noChangeAspect="1"/>
          </p:cNvSpPr>
          <p:nvPr/>
        </p:nvSpPr>
        <p:spPr bwMode="auto">
          <a:xfrm>
            <a:off x="8329835" y="17433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202043" y="17433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20592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197627" y="23752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1" name="Freeform 67"/>
          <p:cNvSpPr>
            <a:spLocks noChangeAspect="1"/>
          </p:cNvSpPr>
          <p:nvPr/>
        </p:nvSpPr>
        <p:spPr bwMode="auto">
          <a:xfrm>
            <a:off x="8329835" y="235769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26911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30070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4" name="Freeform 67"/>
          <p:cNvSpPr>
            <a:spLocks noChangeAspect="1"/>
          </p:cNvSpPr>
          <p:nvPr/>
        </p:nvSpPr>
        <p:spPr bwMode="auto">
          <a:xfrm>
            <a:off x="8329835" y="30070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332300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197627" y="363893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0" name="Freeform 67"/>
          <p:cNvSpPr>
            <a:spLocks noChangeAspect="1"/>
          </p:cNvSpPr>
          <p:nvPr/>
        </p:nvSpPr>
        <p:spPr bwMode="auto">
          <a:xfrm>
            <a:off x="8329835" y="362555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395486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4" name="Freeform 67"/>
          <p:cNvSpPr>
            <a:spLocks noChangeAspect="1"/>
          </p:cNvSpPr>
          <p:nvPr/>
        </p:nvSpPr>
        <p:spPr bwMode="auto">
          <a:xfrm>
            <a:off x="10197627" y="458672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5" name="Freeform 67"/>
          <p:cNvSpPr>
            <a:spLocks noChangeAspect="1"/>
          </p:cNvSpPr>
          <p:nvPr/>
        </p:nvSpPr>
        <p:spPr bwMode="auto">
          <a:xfrm>
            <a:off x="10197627" y="49026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6" name="Freeform 67"/>
          <p:cNvSpPr>
            <a:spLocks noChangeAspect="1"/>
          </p:cNvSpPr>
          <p:nvPr/>
        </p:nvSpPr>
        <p:spPr bwMode="auto">
          <a:xfrm>
            <a:off x="8329835" y="49026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7" name="Freeform 67"/>
          <p:cNvSpPr>
            <a:spLocks noChangeAspect="1"/>
          </p:cNvSpPr>
          <p:nvPr/>
        </p:nvSpPr>
        <p:spPr bwMode="auto">
          <a:xfrm>
            <a:off x="10197627" y="52185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8" name="Freeform 67"/>
          <p:cNvSpPr>
            <a:spLocks noChangeAspect="1"/>
          </p:cNvSpPr>
          <p:nvPr/>
        </p:nvSpPr>
        <p:spPr bwMode="auto">
          <a:xfrm>
            <a:off x="10197627" y="55345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9" name="Freeform 67"/>
          <p:cNvSpPr>
            <a:spLocks noChangeAspect="1"/>
          </p:cNvSpPr>
          <p:nvPr/>
        </p:nvSpPr>
        <p:spPr bwMode="auto">
          <a:xfrm>
            <a:off x="8329835" y="55345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0" name="Freeform 67"/>
          <p:cNvSpPr>
            <a:spLocks noChangeAspect="1"/>
          </p:cNvSpPr>
          <p:nvPr/>
        </p:nvSpPr>
        <p:spPr bwMode="auto">
          <a:xfrm>
            <a:off x="10197627" y="58504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1" name="Freeform 67"/>
          <p:cNvSpPr>
            <a:spLocks noChangeAspect="1"/>
          </p:cNvSpPr>
          <p:nvPr/>
        </p:nvSpPr>
        <p:spPr bwMode="auto">
          <a:xfrm>
            <a:off x="10197627" y="61663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2" name="Freeform 67"/>
          <p:cNvSpPr>
            <a:spLocks noChangeAspect="1"/>
          </p:cNvSpPr>
          <p:nvPr/>
        </p:nvSpPr>
        <p:spPr bwMode="auto">
          <a:xfrm>
            <a:off x="10197627" y="6482311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3" name="Freeform 67"/>
          <p:cNvSpPr>
            <a:spLocks noChangeAspect="1"/>
          </p:cNvSpPr>
          <p:nvPr/>
        </p:nvSpPr>
        <p:spPr bwMode="auto">
          <a:xfrm>
            <a:off x="10197627" y="427079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87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Платежный календарь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633537" y="1269555"/>
            <a:ext cx="8928100" cy="5257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lvl="1">
              <a:spcAft>
                <a:spcPts val="0"/>
              </a:spcAft>
              <a:buClr>
                <a:srgbClr val="FC6E51"/>
              </a:buClr>
              <a:defRPr/>
            </a:pPr>
            <a:r>
              <a:rPr lang="ru-RU" altLang="ru-RU" sz="2400" b="1" kern="0" dirty="0">
                <a:solidFill>
                  <a:srgbClr val="FC6E51"/>
                </a:solidFill>
              </a:rPr>
              <a:t>Гибкая настройка</a:t>
            </a:r>
          </a:p>
          <a:p>
            <a:pPr marL="896938" lvl="1" indent="0">
              <a:spcAft>
                <a:spcPts val="600"/>
              </a:spcAft>
              <a:buClr>
                <a:srgbClr val="FC6E51"/>
              </a:buClr>
              <a:buNone/>
              <a:defRPr/>
            </a:pPr>
            <a:r>
              <a:rPr lang="ru-RU" altLang="ru-RU" kern="0" dirty="0">
                <a:solidFill>
                  <a:srgbClr val="808080"/>
                </a:solidFill>
              </a:rPr>
              <a:t>128 разных вариантов</a:t>
            </a:r>
          </a:p>
          <a:p>
            <a:pPr lvl="1">
              <a:spcAft>
                <a:spcPts val="0"/>
              </a:spcAft>
              <a:buClr>
                <a:srgbClr val="FC6E51"/>
              </a:buClr>
              <a:defRPr/>
            </a:pPr>
            <a:r>
              <a:rPr lang="ru-RU" altLang="ru-RU" sz="2400" b="1" kern="0" dirty="0">
                <a:solidFill>
                  <a:srgbClr val="FC6E51"/>
                </a:solidFill>
              </a:rPr>
              <a:t>Скользящее планирование</a:t>
            </a:r>
          </a:p>
          <a:p>
            <a:pPr marL="896938" lvl="1" indent="0">
              <a:spcAft>
                <a:spcPts val="600"/>
              </a:spcAft>
              <a:buClr>
                <a:srgbClr val="FC6E51"/>
              </a:buClr>
              <a:buNone/>
              <a:defRPr/>
            </a:pPr>
            <a:r>
              <a:rPr lang="ru-RU" altLang="ru-RU" kern="0" dirty="0">
                <a:solidFill>
                  <a:srgbClr val="808080"/>
                </a:solidFill>
              </a:rPr>
              <a:t>Настраиваемое окно, от текущей позиции </a:t>
            </a:r>
            <a:br>
              <a:rPr lang="ru-RU" altLang="ru-RU" kern="0" dirty="0">
                <a:solidFill>
                  <a:srgbClr val="808080"/>
                </a:solidFill>
              </a:rPr>
            </a:br>
            <a:r>
              <a:rPr lang="ru-RU" altLang="ru-RU" kern="0" dirty="0">
                <a:solidFill>
                  <a:srgbClr val="808080"/>
                </a:solidFill>
              </a:rPr>
              <a:t>до долгосрочных планов</a:t>
            </a:r>
          </a:p>
          <a:p>
            <a:pPr lvl="1">
              <a:spcAft>
                <a:spcPts val="600"/>
              </a:spcAft>
              <a:buClr>
                <a:srgbClr val="FC6E51"/>
              </a:buClr>
              <a:defRPr/>
            </a:pPr>
            <a:r>
              <a:rPr lang="ru-RU" altLang="ru-RU" sz="2400" b="1" kern="0" dirty="0">
                <a:solidFill>
                  <a:srgbClr val="FC6E51"/>
                </a:solidFill>
              </a:rPr>
              <a:t>Вероятностный подход</a:t>
            </a:r>
            <a:br>
              <a:rPr lang="ru-RU" altLang="ru-RU" sz="2400" b="1" kern="0" dirty="0">
                <a:solidFill>
                  <a:srgbClr val="FC6E51"/>
                </a:solidFill>
              </a:rPr>
            </a:br>
            <a:r>
              <a:rPr lang="ru-RU" altLang="ru-RU" sz="2400" kern="0" dirty="0"/>
              <a:t>	</a:t>
            </a:r>
            <a:r>
              <a:rPr lang="ru-RU" altLang="ru-RU" kern="0" dirty="0">
                <a:solidFill>
                  <a:srgbClr val="808080"/>
                </a:solidFill>
              </a:rPr>
              <a:t>Разные источники – разная вероятность</a:t>
            </a:r>
            <a:endParaRPr lang="en-US" altLang="ru-RU" kern="0" dirty="0">
              <a:solidFill>
                <a:srgbClr val="808080"/>
              </a:solidFill>
            </a:endParaRPr>
          </a:p>
          <a:p>
            <a:pPr lvl="1">
              <a:spcAft>
                <a:spcPts val="0"/>
              </a:spcAft>
              <a:buClr>
                <a:srgbClr val="FC6E51"/>
              </a:buClr>
              <a:defRPr/>
            </a:pPr>
            <a:r>
              <a:rPr lang="ru-RU" altLang="ru-RU" sz="2400" b="1" kern="0" dirty="0">
                <a:solidFill>
                  <a:srgbClr val="FC6E51"/>
                </a:solidFill>
              </a:rPr>
              <a:t>Стресс-тестирование ликвидности</a:t>
            </a:r>
            <a:endParaRPr lang="en-US" altLang="ru-RU" sz="2400" b="1" kern="0" dirty="0">
              <a:solidFill>
                <a:srgbClr val="FC6E51"/>
              </a:solidFill>
            </a:endParaRPr>
          </a:p>
          <a:p>
            <a:pPr marL="896938" lvl="1" indent="0">
              <a:spcAft>
                <a:spcPts val="600"/>
              </a:spcAft>
              <a:buClr>
                <a:srgbClr val="FC6E51"/>
              </a:buClr>
              <a:buNone/>
              <a:defRPr/>
            </a:pPr>
            <a:r>
              <a:rPr lang="ru-RU" altLang="ru-RU" kern="0" dirty="0">
                <a:solidFill>
                  <a:srgbClr val="808080"/>
                </a:solidFill>
              </a:rPr>
              <a:t>Моделирование «на лету», сохранение сценариев</a:t>
            </a:r>
          </a:p>
          <a:p>
            <a:pPr lvl="1">
              <a:spcAft>
                <a:spcPts val="0"/>
              </a:spcAft>
              <a:buClr>
                <a:srgbClr val="FC6E51"/>
              </a:buClr>
              <a:defRPr/>
            </a:pPr>
            <a:r>
              <a:rPr lang="ru-RU" altLang="ru-RU" sz="2400" b="1" kern="0" dirty="0">
                <a:solidFill>
                  <a:srgbClr val="FC6E51"/>
                </a:solidFill>
              </a:rPr>
              <a:t>Не просто отчет</a:t>
            </a:r>
          </a:p>
          <a:p>
            <a:pPr marL="896938" lvl="1" indent="0">
              <a:spcAft>
                <a:spcPts val="0"/>
              </a:spcAft>
              <a:buClr>
                <a:srgbClr val="FC6E51"/>
              </a:buClr>
              <a:buNone/>
              <a:defRPr/>
            </a:pPr>
            <a:r>
              <a:rPr lang="ru-RU" altLang="ru-RU" kern="0" dirty="0">
                <a:solidFill>
                  <a:srgbClr val="808080"/>
                </a:solidFill>
              </a:rPr>
              <a:t>Планирование операций привлечения, размещения, </a:t>
            </a:r>
            <a:br>
              <a:rPr lang="ru-RU" altLang="ru-RU" kern="0" dirty="0">
                <a:solidFill>
                  <a:srgbClr val="808080"/>
                </a:solidFill>
              </a:rPr>
            </a:br>
            <a:r>
              <a:rPr lang="ru-RU" altLang="ru-RU" kern="0" dirty="0">
                <a:solidFill>
                  <a:srgbClr val="808080"/>
                </a:solidFill>
              </a:rPr>
              <a:t>перераспределения средств</a:t>
            </a:r>
          </a:p>
          <a:p>
            <a:pPr marL="901700" lvl="1" indent="0">
              <a:spcBef>
                <a:spcPts val="0"/>
              </a:spcBef>
              <a:buNone/>
              <a:defRPr/>
            </a:pPr>
            <a:r>
              <a:rPr lang="ru-RU" altLang="ru-RU" sz="2400" kern="0" dirty="0"/>
              <a:t>	</a:t>
            </a:r>
          </a:p>
          <a:p>
            <a:pPr lvl="2">
              <a:defRPr/>
            </a:pPr>
            <a:endParaRPr lang="en-US" altLang="ru-RU" kern="0" dirty="0"/>
          </a:p>
          <a:p>
            <a:pPr lvl="1">
              <a:defRPr/>
            </a:pPr>
            <a:endParaRPr lang="en-US" altLang="ru-RU" kern="0" dirty="0"/>
          </a:p>
          <a:p>
            <a:pPr lvl="1">
              <a:defRPr/>
            </a:pPr>
            <a:endParaRPr lang="en-US" altLang="ru-RU" kern="0" dirty="0"/>
          </a:p>
          <a:p>
            <a:pPr lvl="1">
              <a:defRPr/>
            </a:pPr>
            <a:endParaRPr lang="ru-RU" altLang="ru-RU" kern="0" dirty="0"/>
          </a:p>
          <a:p>
            <a:pPr>
              <a:defRPr/>
            </a:pPr>
            <a:endParaRPr lang="ru-RU" altLang="ru-RU" kern="0" dirty="0"/>
          </a:p>
          <a:p>
            <a:pPr>
              <a:defRPr/>
            </a:pPr>
            <a:endParaRPr lang="ru-RU" altLang="ru-RU" kern="0" dirty="0"/>
          </a:p>
        </p:txBody>
      </p:sp>
    </p:spTree>
    <p:extLst>
      <p:ext uri="{BB962C8B-B14F-4D97-AF65-F5344CB8AC3E}">
        <p14:creationId xmlns:p14="http://schemas.microsoft.com/office/powerpoint/2010/main" val="2857775949"/>
      </p:ext>
    </p:extLst>
  </p:cSld>
  <p:clrMapOvr>
    <a:masterClrMapping/>
  </p:clrMapOvr>
  <p:transition spd="slow"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входящими остатками</a:t>
            </a: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111405" y="4651080"/>
            <a:ext cx="11906889" cy="2053757"/>
          </a:xfrm>
        </p:spPr>
        <p:txBody>
          <a:bodyPr/>
          <a:lstStyle/>
          <a:p>
            <a:r>
              <a:rPr lang="ru-RU" dirty="0"/>
              <a:t>Остатки на счетах сохраняются отдельно</a:t>
            </a:r>
          </a:p>
          <a:p>
            <a:r>
              <a:rPr lang="ru-RU" dirty="0"/>
              <a:t>Независимость процесса планирования от процесса разнесения выписки</a:t>
            </a:r>
          </a:p>
          <a:p>
            <a:r>
              <a:rPr lang="ru-RU" dirty="0"/>
              <a:t>Старый вариант также доступен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59</a:t>
            </a:fld>
            <a:endParaRPr lang="ru-RU" altLang="ru-RU" dirty="0"/>
          </a:p>
        </p:txBody>
      </p:sp>
      <p:sp>
        <p:nvSpPr>
          <p:cNvPr id="10" name="Банк"/>
          <p:cNvSpPr>
            <a:spLocks noChangeAspect="1" noEditPoints="1"/>
          </p:cNvSpPr>
          <p:nvPr/>
        </p:nvSpPr>
        <p:spPr bwMode="auto">
          <a:xfrm>
            <a:off x="1055860" y="1706215"/>
            <a:ext cx="1458866" cy="1440985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 dirty="0">
              <a:latin typeface="Arial" charset="0"/>
            </a:endParaRPr>
          </a:p>
        </p:txBody>
      </p:sp>
      <p:sp>
        <p:nvSpPr>
          <p:cNvPr id="11" name="Банк подпись"/>
          <p:cNvSpPr txBox="1">
            <a:spLocks noChangeArrowheads="1"/>
          </p:cNvSpPr>
          <p:nvPr/>
        </p:nvSpPr>
        <p:spPr bwMode="auto">
          <a:xfrm>
            <a:off x="1260501" y="3247431"/>
            <a:ext cx="958818" cy="220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6584" rIns="0" bIns="0">
            <a:spAutoFit/>
          </a:bodyPr>
          <a:lstStyle/>
          <a:p>
            <a:pPr algn="ctr">
              <a:lnSpc>
                <a:spcPct val="85000"/>
              </a:lnSpc>
              <a:buClr>
                <a:schemeClr val="accent2"/>
              </a:buClr>
              <a:buSzPct val="70000"/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Клиент-банк</a:t>
            </a:r>
          </a:p>
        </p:txBody>
      </p:sp>
      <p:sp>
        <p:nvSpPr>
          <p:cNvPr id="12" name="Выписка"/>
          <p:cNvSpPr>
            <a:spLocks noChangeAspect="1" noEditPoints="1"/>
          </p:cNvSpPr>
          <p:nvPr/>
        </p:nvSpPr>
        <p:spPr bwMode="auto">
          <a:xfrm>
            <a:off x="4059648" y="1857575"/>
            <a:ext cx="724741" cy="935308"/>
          </a:xfrm>
          <a:custGeom>
            <a:avLst/>
            <a:gdLst>
              <a:gd name="T0" fmla="*/ 2147483647 w 3704"/>
              <a:gd name="T1" fmla="*/ 2147483647 h 4763"/>
              <a:gd name="T2" fmla="*/ 2147483647 w 3704"/>
              <a:gd name="T3" fmla="*/ 2147483647 h 4763"/>
              <a:gd name="T4" fmla="*/ 2147483647 w 3704"/>
              <a:gd name="T5" fmla="*/ 2147483647 h 4763"/>
              <a:gd name="T6" fmla="*/ 2147483647 w 3704"/>
              <a:gd name="T7" fmla="*/ 2147483647 h 4763"/>
              <a:gd name="T8" fmla="*/ 2147483647 w 3704"/>
              <a:gd name="T9" fmla="*/ 2147483647 h 4763"/>
              <a:gd name="T10" fmla="*/ 2147483647 w 3704"/>
              <a:gd name="T11" fmla="*/ 2147483647 h 4763"/>
              <a:gd name="T12" fmla="*/ 2147483647 w 3704"/>
              <a:gd name="T13" fmla="*/ 2147483647 h 4763"/>
              <a:gd name="T14" fmla="*/ 2147483647 w 3704"/>
              <a:gd name="T15" fmla="*/ 2147483647 h 4763"/>
              <a:gd name="T16" fmla="*/ 2147483647 w 3704"/>
              <a:gd name="T17" fmla="*/ 2147483647 h 4763"/>
              <a:gd name="T18" fmla="*/ 2147483647 w 3704"/>
              <a:gd name="T19" fmla="*/ 2147483647 h 4763"/>
              <a:gd name="T20" fmla="*/ 2147483647 w 3704"/>
              <a:gd name="T21" fmla="*/ 2147483647 h 4763"/>
              <a:gd name="T22" fmla="*/ 2147483647 w 3704"/>
              <a:gd name="T23" fmla="*/ 2147483647 h 4763"/>
              <a:gd name="T24" fmla="*/ 2147483647 w 3704"/>
              <a:gd name="T25" fmla="*/ 2147483647 h 4763"/>
              <a:gd name="T26" fmla="*/ 2147483647 w 3704"/>
              <a:gd name="T27" fmla="*/ 2147483647 h 4763"/>
              <a:gd name="T28" fmla="*/ 2147483647 w 3704"/>
              <a:gd name="T29" fmla="*/ 2147483647 h 4763"/>
              <a:gd name="T30" fmla="*/ 2147483647 w 3704"/>
              <a:gd name="T31" fmla="*/ 2147483647 h 4763"/>
              <a:gd name="T32" fmla="*/ 2147483647 w 3704"/>
              <a:gd name="T33" fmla="*/ 2147483647 h 4763"/>
              <a:gd name="T34" fmla="*/ 2147483647 w 3704"/>
              <a:gd name="T35" fmla="*/ 2147483647 h 4763"/>
              <a:gd name="T36" fmla="*/ 2147483647 w 3704"/>
              <a:gd name="T37" fmla="*/ 2147483647 h 4763"/>
              <a:gd name="T38" fmla="*/ 2147483647 w 3704"/>
              <a:gd name="T39" fmla="*/ 2147483647 h 4763"/>
              <a:gd name="T40" fmla="*/ 2147483647 w 3704"/>
              <a:gd name="T41" fmla="*/ 2147483647 h 4763"/>
              <a:gd name="T42" fmla="*/ 2147483647 w 3704"/>
              <a:gd name="T43" fmla="*/ 2147483647 h 4763"/>
              <a:gd name="T44" fmla="*/ 2147483647 w 3704"/>
              <a:gd name="T45" fmla="*/ 2147483647 h 4763"/>
              <a:gd name="T46" fmla="*/ 2147483647 w 3704"/>
              <a:gd name="T47" fmla="*/ 2147483647 h 4763"/>
              <a:gd name="T48" fmla="*/ 2147483647 w 3704"/>
              <a:gd name="T49" fmla="*/ 2147483647 h 4763"/>
              <a:gd name="T50" fmla="*/ 2147483647 w 3704"/>
              <a:gd name="T51" fmla="*/ 2147483647 h 4763"/>
              <a:gd name="T52" fmla="*/ 0 w 3704"/>
              <a:gd name="T53" fmla="*/ 2147483647 h 4763"/>
              <a:gd name="T54" fmla="*/ 0 w 3704"/>
              <a:gd name="T55" fmla="*/ 2147483647 h 4763"/>
              <a:gd name="T56" fmla="*/ 2147483647 w 3704"/>
              <a:gd name="T57" fmla="*/ 2147483647 h 4763"/>
              <a:gd name="T58" fmla="*/ 2147483647 w 3704"/>
              <a:gd name="T59" fmla="*/ 2147483647 h 4763"/>
              <a:gd name="T60" fmla="*/ 2147483647 w 3704"/>
              <a:gd name="T61" fmla="*/ 2147483647 h 4763"/>
              <a:gd name="T62" fmla="*/ 2147483647 w 3704"/>
              <a:gd name="T63" fmla="*/ 2147483647 h 4763"/>
              <a:gd name="T64" fmla="*/ 2147483647 w 3704"/>
              <a:gd name="T65" fmla="*/ 2147483647 h 4763"/>
              <a:gd name="T66" fmla="*/ 2147483647 w 3704"/>
              <a:gd name="T67" fmla="*/ 2147483647 h 4763"/>
              <a:gd name="T68" fmla="*/ 2147483647 w 3704"/>
              <a:gd name="T69" fmla="*/ 2147483647 h 4763"/>
              <a:gd name="T70" fmla="*/ 2147483647 w 3704"/>
              <a:gd name="T71" fmla="*/ 2147483647 h 4763"/>
              <a:gd name="T72" fmla="*/ 2147483647 w 3704"/>
              <a:gd name="T73" fmla="*/ 2147483647 h 4763"/>
              <a:gd name="T74" fmla="*/ 2147483647 w 3704"/>
              <a:gd name="T75" fmla="*/ 2147483647 h 4763"/>
              <a:gd name="T76" fmla="*/ 2147483647 w 3704"/>
              <a:gd name="T77" fmla="*/ 2147483647 h 4763"/>
              <a:gd name="T78" fmla="*/ 2147483647 w 3704"/>
              <a:gd name="T79" fmla="*/ 2147483647 h 4763"/>
              <a:gd name="T80" fmla="*/ 2147483647 w 3704"/>
              <a:gd name="T81" fmla="*/ 2147483647 h 4763"/>
              <a:gd name="T82" fmla="*/ 2147483647 w 3704"/>
              <a:gd name="T83" fmla="*/ 2147483647 h 4763"/>
              <a:gd name="T84" fmla="*/ 2147483647 w 3704"/>
              <a:gd name="T85" fmla="*/ 2147483647 h 4763"/>
              <a:gd name="T86" fmla="*/ 2147483647 w 3704"/>
              <a:gd name="T87" fmla="*/ 2147483647 h 4763"/>
              <a:gd name="T88" fmla="*/ 2147483647 w 3704"/>
              <a:gd name="T89" fmla="*/ 2147483647 h 4763"/>
              <a:gd name="T90" fmla="*/ 2147483647 w 3704"/>
              <a:gd name="T91" fmla="*/ 2147483647 h 4763"/>
              <a:gd name="T92" fmla="*/ 2147483647 w 3704"/>
              <a:gd name="T93" fmla="*/ 2147483647 h 4763"/>
              <a:gd name="T94" fmla="*/ 2147483647 w 3704"/>
              <a:gd name="T95" fmla="*/ 2147483647 h 4763"/>
              <a:gd name="T96" fmla="*/ 2147483647 w 3704"/>
              <a:gd name="T97" fmla="*/ 2147483647 h 4763"/>
              <a:gd name="T98" fmla="*/ 2147483647 w 3704"/>
              <a:gd name="T99" fmla="*/ 2147483647 h 4763"/>
              <a:gd name="T100" fmla="*/ 2147483647 w 3704"/>
              <a:gd name="T101" fmla="*/ 0 h 4763"/>
              <a:gd name="T102" fmla="*/ 2147483647 w 3704"/>
              <a:gd name="T103" fmla="*/ 0 h 4763"/>
              <a:gd name="T104" fmla="*/ 2147483647 w 3704"/>
              <a:gd name="T105" fmla="*/ 2147483647 h 4763"/>
              <a:gd name="T106" fmla="*/ 2147483647 w 3704"/>
              <a:gd name="T107" fmla="*/ 2147483647 h 4763"/>
              <a:gd name="T108" fmla="*/ 2147483647 w 3704"/>
              <a:gd name="T109" fmla="*/ 2147483647 h 4763"/>
              <a:gd name="T110" fmla="*/ 2147483647 w 3704"/>
              <a:gd name="T111" fmla="*/ 2147483647 h 4763"/>
              <a:gd name="T112" fmla="*/ 2147483647 w 3704"/>
              <a:gd name="T113" fmla="*/ 2147483647 h 4763"/>
              <a:gd name="T114" fmla="*/ 2147483647 w 3704"/>
              <a:gd name="T115" fmla="*/ 2147483647 h 4763"/>
              <a:gd name="T116" fmla="*/ 2147483647 w 3704"/>
              <a:gd name="T117" fmla="*/ 2147483647 h 4763"/>
              <a:gd name="T118" fmla="*/ 2147483647 w 3704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4"/>
              <a:gd name="T181" fmla="*/ 0 h 4763"/>
              <a:gd name="T182" fmla="*/ 3704 w 3704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4" h="4763">
                <a:moveTo>
                  <a:pt x="577" y="554"/>
                </a:moveTo>
                <a:lnTo>
                  <a:pt x="577" y="337"/>
                </a:lnTo>
                <a:lnTo>
                  <a:pt x="3327" y="337"/>
                </a:lnTo>
                <a:lnTo>
                  <a:pt x="3327" y="4213"/>
                </a:lnTo>
                <a:lnTo>
                  <a:pt x="3074" y="4213"/>
                </a:lnTo>
                <a:lnTo>
                  <a:pt x="3074" y="4115"/>
                </a:lnTo>
                <a:lnTo>
                  <a:pt x="3229" y="4115"/>
                </a:lnTo>
                <a:lnTo>
                  <a:pt x="3229" y="435"/>
                </a:lnTo>
                <a:lnTo>
                  <a:pt x="675" y="435"/>
                </a:lnTo>
                <a:lnTo>
                  <a:pt x="675" y="554"/>
                </a:lnTo>
                <a:lnTo>
                  <a:pt x="577" y="554"/>
                </a:lnTo>
                <a:close/>
                <a:moveTo>
                  <a:pt x="528" y="3793"/>
                </a:moveTo>
                <a:lnTo>
                  <a:pt x="2020" y="3793"/>
                </a:lnTo>
                <a:lnTo>
                  <a:pt x="2020" y="3890"/>
                </a:lnTo>
                <a:lnTo>
                  <a:pt x="528" y="3890"/>
                </a:lnTo>
                <a:lnTo>
                  <a:pt x="528" y="3793"/>
                </a:lnTo>
                <a:close/>
                <a:moveTo>
                  <a:pt x="2685" y="1426"/>
                </a:moveTo>
                <a:lnTo>
                  <a:pt x="2198" y="945"/>
                </a:lnTo>
                <a:lnTo>
                  <a:pt x="2198" y="1426"/>
                </a:lnTo>
                <a:lnTo>
                  <a:pt x="2685" y="1426"/>
                </a:lnTo>
                <a:close/>
                <a:moveTo>
                  <a:pt x="195" y="849"/>
                </a:moveTo>
                <a:lnTo>
                  <a:pt x="195" y="4568"/>
                </a:lnTo>
                <a:lnTo>
                  <a:pt x="2768" y="4568"/>
                </a:lnTo>
                <a:lnTo>
                  <a:pt x="2769" y="1718"/>
                </a:lnTo>
                <a:lnTo>
                  <a:pt x="2964" y="1718"/>
                </a:lnTo>
                <a:lnTo>
                  <a:pt x="2962" y="4763"/>
                </a:lnTo>
                <a:lnTo>
                  <a:pt x="0" y="4763"/>
                </a:lnTo>
                <a:lnTo>
                  <a:pt x="0" y="654"/>
                </a:lnTo>
                <a:lnTo>
                  <a:pt x="2190" y="654"/>
                </a:lnTo>
                <a:lnTo>
                  <a:pt x="2965" y="1428"/>
                </a:lnTo>
                <a:lnTo>
                  <a:pt x="2964" y="1621"/>
                </a:lnTo>
                <a:lnTo>
                  <a:pt x="2003" y="1621"/>
                </a:lnTo>
                <a:lnTo>
                  <a:pt x="2003" y="849"/>
                </a:lnTo>
                <a:lnTo>
                  <a:pt x="195" y="849"/>
                </a:lnTo>
                <a:close/>
                <a:moveTo>
                  <a:pt x="528" y="2209"/>
                </a:moveTo>
                <a:lnTo>
                  <a:pt x="2434" y="2209"/>
                </a:lnTo>
                <a:lnTo>
                  <a:pt x="2434" y="2306"/>
                </a:lnTo>
                <a:lnTo>
                  <a:pt x="528" y="2306"/>
                </a:lnTo>
                <a:lnTo>
                  <a:pt x="528" y="2209"/>
                </a:lnTo>
                <a:close/>
                <a:moveTo>
                  <a:pt x="528" y="2737"/>
                </a:moveTo>
                <a:lnTo>
                  <a:pt x="2434" y="2737"/>
                </a:lnTo>
                <a:lnTo>
                  <a:pt x="2434" y="2834"/>
                </a:lnTo>
                <a:lnTo>
                  <a:pt x="528" y="2834"/>
                </a:lnTo>
                <a:lnTo>
                  <a:pt x="528" y="2737"/>
                </a:lnTo>
                <a:close/>
                <a:moveTo>
                  <a:pt x="528" y="3265"/>
                </a:moveTo>
                <a:lnTo>
                  <a:pt x="2434" y="3265"/>
                </a:lnTo>
                <a:lnTo>
                  <a:pt x="2434" y="3363"/>
                </a:lnTo>
                <a:lnTo>
                  <a:pt x="528" y="3363"/>
                </a:lnTo>
                <a:lnTo>
                  <a:pt x="528" y="3265"/>
                </a:lnTo>
                <a:close/>
                <a:moveTo>
                  <a:pt x="964" y="218"/>
                </a:moveTo>
                <a:lnTo>
                  <a:pt x="964" y="0"/>
                </a:lnTo>
                <a:lnTo>
                  <a:pt x="3704" y="0"/>
                </a:lnTo>
                <a:lnTo>
                  <a:pt x="3704" y="3896"/>
                </a:lnTo>
                <a:lnTo>
                  <a:pt x="3452" y="3896"/>
                </a:lnTo>
                <a:lnTo>
                  <a:pt x="3452" y="3799"/>
                </a:lnTo>
                <a:lnTo>
                  <a:pt x="3607" y="3799"/>
                </a:lnTo>
                <a:lnTo>
                  <a:pt x="3607" y="97"/>
                </a:lnTo>
                <a:lnTo>
                  <a:pt x="1062" y="97"/>
                </a:lnTo>
                <a:lnTo>
                  <a:pt x="1062" y="218"/>
                </a:lnTo>
                <a:lnTo>
                  <a:pt x="964" y="218"/>
                </a:lnTo>
                <a:close/>
              </a:path>
            </a:pathLst>
          </a:custGeom>
          <a:solidFill>
            <a:srgbClr val="80808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latin typeface="Arial" charset="0"/>
            </a:endParaRPr>
          </a:p>
        </p:txBody>
      </p:sp>
      <p:sp>
        <p:nvSpPr>
          <p:cNvPr id="13" name="Выписка подпись"/>
          <p:cNvSpPr txBox="1">
            <a:spLocks noChangeArrowheads="1"/>
          </p:cNvSpPr>
          <p:nvPr/>
        </p:nvSpPr>
        <p:spPr bwMode="auto">
          <a:xfrm>
            <a:off x="4062988" y="2836405"/>
            <a:ext cx="651548" cy="220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6584" rIns="0" bIns="0">
            <a:spAutoFit/>
          </a:bodyPr>
          <a:lstStyle/>
          <a:p>
            <a:pPr algn="ctr">
              <a:lnSpc>
                <a:spcPct val="85000"/>
              </a:lnSpc>
              <a:buClr>
                <a:schemeClr val="accent2"/>
              </a:buClr>
              <a:buSzPct val="70000"/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Выписка</a:t>
            </a:r>
          </a:p>
        </p:txBody>
      </p:sp>
      <p:sp>
        <p:nvSpPr>
          <p:cNvPr id="15" name="Деньги"/>
          <p:cNvSpPr>
            <a:spLocks noChangeAspect="1" noEditPoints="1"/>
          </p:cNvSpPr>
          <p:nvPr/>
        </p:nvSpPr>
        <p:spPr bwMode="auto">
          <a:xfrm>
            <a:off x="3857368" y="3403495"/>
            <a:ext cx="1030186" cy="774442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</p:spPr>
        <p:txBody>
          <a:bodyPr/>
          <a:lstStyle/>
          <a:p>
            <a:endParaRPr lang="ru-RU" dirty="0"/>
          </a:p>
        </p:txBody>
      </p:sp>
      <p:pic>
        <p:nvPicPr>
          <p:cNvPr id="9" name="Календарь серый" descr="Месячный календарь контур">
            <a:extLst>
              <a:ext uri="{FF2B5EF4-FFF2-40B4-BE49-F238E27FC236}">
                <a16:creationId xmlns:a16="http://schemas.microsoft.com/office/drawing/2014/main" id="{404B9047-EABD-4AFD-9059-4496BFA50B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21466" y="1557152"/>
            <a:ext cx="1951811" cy="1847920"/>
          </a:xfrm>
          <a:prstGeom prst="rect">
            <a:avLst/>
          </a:prstGeom>
        </p:spPr>
      </p:pic>
      <p:sp>
        <p:nvSpPr>
          <p:cNvPr id="16" name="TextBox 7">
            <a:extLst>
              <a:ext uri="{FF2B5EF4-FFF2-40B4-BE49-F238E27FC236}">
                <a16:creationId xmlns:a16="http://schemas.microsoft.com/office/drawing/2014/main" id="{FA4CEF49-1E75-4681-8074-896D3AF08B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3998" y="3247431"/>
            <a:ext cx="1683295" cy="403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584" rIns="0" bIns="0">
            <a:spAutoFit/>
          </a:bodyPr>
          <a:lstStyle/>
          <a:p>
            <a:pPr algn="ctr">
              <a:lnSpc>
                <a:spcPct val="85000"/>
              </a:lnSpc>
              <a:buClr>
                <a:schemeClr val="accent2"/>
              </a:buClr>
              <a:buSzPct val="70000"/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pic>
        <p:nvPicPr>
          <p:cNvPr id="19" name="Карандаш" descr="Карандаш со сплошной заливкой">
            <a:extLst>
              <a:ext uri="{FF2B5EF4-FFF2-40B4-BE49-F238E27FC236}">
                <a16:creationId xmlns:a16="http://schemas.microsoft.com/office/drawing/2014/main" id="{4D6368B5-4102-47EB-935E-5871576C8E1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758647" y="1968054"/>
            <a:ext cx="1026115" cy="1026115"/>
          </a:xfrm>
          <a:prstGeom prst="rect">
            <a:avLst/>
          </a:prstGeom>
        </p:spPr>
      </p:pic>
      <p:pic>
        <p:nvPicPr>
          <p:cNvPr id="21" name="Календарь красный" descr="Месячный календарь контур">
            <a:extLst>
              <a:ext uri="{FF2B5EF4-FFF2-40B4-BE49-F238E27FC236}">
                <a16:creationId xmlns:a16="http://schemas.microsoft.com/office/drawing/2014/main" id="{17B2A568-08D9-4C5C-AE18-CFEAB5B8BF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623255" y="1557152"/>
            <a:ext cx="1951811" cy="1847920"/>
          </a:xfrm>
          <a:prstGeom prst="rect">
            <a:avLst/>
          </a:prstGeom>
        </p:spPr>
      </p:pic>
      <p:sp>
        <p:nvSpPr>
          <p:cNvPr id="23" name="TextBox 7">
            <a:extLst>
              <a:ext uri="{FF2B5EF4-FFF2-40B4-BE49-F238E27FC236}">
                <a16:creationId xmlns:a16="http://schemas.microsoft.com/office/drawing/2014/main" id="{8D0BA6A1-579D-4D71-AED6-DF18895133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2887" y="4185367"/>
            <a:ext cx="599150" cy="220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6584" rIns="0" bIns="0">
            <a:spAutoFit/>
          </a:bodyPr>
          <a:lstStyle/>
          <a:p>
            <a:pPr algn="ctr">
              <a:lnSpc>
                <a:spcPct val="85000"/>
              </a:lnSpc>
              <a:buClr>
                <a:schemeClr val="accent2"/>
              </a:buClr>
              <a:buSzPct val="70000"/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Остатки</a:t>
            </a:r>
          </a:p>
        </p:txBody>
      </p:sp>
      <p:cxnSp>
        <p:nvCxnSpPr>
          <p:cNvPr id="27" name="Стрелка к выписке">
            <a:extLst>
              <a:ext uri="{FF2B5EF4-FFF2-40B4-BE49-F238E27FC236}">
                <a16:creationId xmlns:a16="http://schemas.microsoft.com/office/drawing/2014/main" id="{8C5DC253-94D9-4E80-8E09-E5169A38CF54}"/>
              </a:ext>
            </a:extLst>
          </p:cNvPr>
          <p:cNvCxnSpPr/>
          <p:nvPr/>
        </p:nvCxnSpPr>
        <p:spPr bwMode="auto">
          <a:xfrm>
            <a:off x="2721058" y="2426708"/>
            <a:ext cx="1048291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4925" cap="flat" cmpd="sng" algn="ctr">
            <a:solidFill>
              <a:srgbClr val="80808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Стрелка от выписки к ПК">
            <a:extLst>
              <a:ext uri="{FF2B5EF4-FFF2-40B4-BE49-F238E27FC236}">
                <a16:creationId xmlns:a16="http://schemas.microsoft.com/office/drawing/2014/main" id="{7B3164F2-1D04-4720-B221-A92CAF36A8E8}"/>
              </a:ext>
            </a:extLst>
          </p:cNvPr>
          <p:cNvCxnSpPr/>
          <p:nvPr/>
        </p:nvCxnSpPr>
        <p:spPr bwMode="auto">
          <a:xfrm>
            <a:off x="5736470" y="2419329"/>
            <a:ext cx="1048291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4925" cap="flat" cmpd="sng" algn="ctr">
            <a:solidFill>
              <a:srgbClr val="80808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Стрелка от карандаша  к ПК">
            <a:extLst>
              <a:ext uri="{FF2B5EF4-FFF2-40B4-BE49-F238E27FC236}">
                <a16:creationId xmlns:a16="http://schemas.microsoft.com/office/drawing/2014/main" id="{59040D27-915E-4FAB-8E25-B91701179E72}"/>
              </a:ext>
            </a:extLst>
          </p:cNvPr>
          <p:cNvCxnSpPr/>
          <p:nvPr/>
        </p:nvCxnSpPr>
        <p:spPr bwMode="auto">
          <a:xfrm>
            <a:off x="6784761" y="2418712"/>
            <a:ext cx="1048291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4925" cap="flat" cmpd="sng" algn="ctr">
            <a:solidFill>
              <a:srgbClr val="FC6E51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Стрелка от выписки к карандашу">
            <a:extLst>
              <a:ext uri="{FF2B5EF4-FFF2-40B4-BE49-F238E27FC236}">
                <a16:creationId xmlns:a16="http://schemas.microsoft.com/office/drawing/2014/main" id="{553DF733-8F5D-4453-8882-2D34668FC9BF}"/>
              </a:ext>
            </a:extLst>
          </p:cNvPr>
          <p:cNvCxnSpPr/>
          <p:nvPr/>
        </p:nvCxnSpPr>
        <p:spPr bwMode="auto">
          <a:xfrm>
            <a:off x="4990721" y="2414823"/>
            <a:ext cx="1048291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4925" cap="flat" cmpd="sng" algn="ctr">
            <a:solidFill>
              <a:srgbClr val="80808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Стрелка к выписке">
            <a:extLst>
              <a:ext uri="{FF2B5EF4-FFF2-40B4-BE49-F238E27FC236}">
                <a16:creationId xmlns:a16="http://schemas.microsoft.com/office/drawing/2014/main" id="{0A670DEA-42A3-4331-AF80-BF48D3239AAC}"/>
              </a:ext>
            </a:extLst>
          </p:cNvPr>
          <p:cNvCxnSpPr/>
          <p:nvPr/>
        </p:nvCxnSpPr>
        <p:spPr bwMode="auto">
          <a:xfrm>
            <a:off x="2669476" y="2631323"/>
            <a:ext cx="1099874" cy="876915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4925" cap="flat" cmpd="sng" algn="ctr">
            <a:solidFill>
              <a:srgbClr val="80808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Стрелка к выписке">
            <a:extLst>
              <a:ext uri="{FF2B5EF4-FFF2-40B4-BE49-F238E27FC236}">
                <a16:creationId xmlns:a16="http://schemas.microsoft.com/office/drawing/2014/main" id="{93C7D23A-13FA-4444-B97D-A1D472599A9B}"/>
              </a:ext>
            </a:extLst>
          </p:cNvPr>
          <p:cNvCxnSpPr/>
          <p:nvPr/>
        </p:nvCxnSpPr>
        <p:spPr bwMode="auto">
          <a:xfrm flipV="1">
            <a:off x="5080222" y="2836405"/>
            <a:ext cx="2673775" cy="826584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4925" cap="flat" cmpd="sng" algn="ctr">
            <a:solidFill>
              <a:srgbClr val="80808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60890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блоки казначейства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209427" y="3032476"/>
            <a:ext cx="2464508" cy="806317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99" dirty="0">
                <a:solidFill>
                  <a:srgbClr val="808080"/>
                </a:solidFill>
              </a:rPr>
              <a:t>Управление обязательствами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7033664" y="3032476"/>
            <a:ext cx="2464508" cy="806317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99" dirty="0">
                <a:solidFill>
                  <a:srgbClr val="808080"/>
                </a:solidFill>
              </a:rPr>
              <a:t>Планирование </a:t>
            </a:r>
            <a:br>
              <a:rPr lang="ru-RU" sz="1999" dirty="0">
                <a:solidFill>
                  <a:srgbClr val="808080"/>
                </a:solidFill>
              </a:rPr>
            </a:br>
            <a:r>
              <a:rPr lang="ru-RU" sz="1999" dirty="0">
                <a:solidFill>
                  <a:srgbClr val="808080"/>
                </a:solidFill>
              </a:rPr>
              <a:t>и контроль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7033666" y="4106947"/>
            <a:ext cx="2450048" cy="806317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99" dirty="0">
                <a:solidFill>
                  <a:srgbClr val="808080"/>
                </a:solidFill>
              </a:rPr>
              <a:t>Управление рисками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400895" y="3032476"/>
            <a:ext cx="2464508" cy="806317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99" dirty="0">
                <a:solidFill>
                  <a:srgbClr val="808080"/>
                </a:solidFill>
              </a:rPr>
              <a:t>Управление договорами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398923" y="4106947"/>
            <a:ext cx="2464508" cy="806317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99" dirty="0">
                <a:solidFill>
                  <a:srgbClr val="808080"/>
                </a:solidFill>
              </a:rPr>
              <a:t>Управление ликвидностью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208440" y="4106947"/>
            <a:ext cx="2464508" cy="806317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99" dirty="0">
                <a:solidFill>
                  <a:srgbClr val="808080"/>
                </a:solidFill>
              </a:rPr>
              <a:t>Платежи </a:t>
            </a:r>
            <a:br>
              <a:rPr lang="ru-RU" sz="1999" dirty="0">
                <a:solidFill>
                  <a:srgbClr val="808080"/>
                </a:solidFill>
              </a:rPr>
            </a:br>
            <a:r>
              <a:rPr lang="ru-RU" sz="1999" dirty="0">
                <a:solidFill>
                  <a:srgbClr val="808080"/>
                </a:solidFill>
              </a:rPr>
              <a:t>и выписк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22193" y="5497954"/>
            <a:ext cx="2494969" cy="11695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аспорта рисков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Кредитные риск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Валютные риск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роцентные риск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Оценка и хеджировани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209646" y="1450185"/>
            <a:ext cx="2082561" cy="95408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Лимитирование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Опер. планы	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Заявки на операци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Стоп-листы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66414" y="1013681"/>
            <a:ext cx="2955339" cy="181630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Учет доп. соглашений 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Заявки на привлечение </a:t>
            </a:r>
            <a:br>
              <a:rPr lang="ru-RU" sz="1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финансирования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Финансовые инструменты	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Калькулятор графиков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Управление отклонениям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Валютный контроль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223106" y="1342314"/>
            <a:ext cx="2418338" cy="116982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Цесси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Факторинг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исьма-напоминания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Обеспечительные меры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ИР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89209" y="5501387"/>
            <a:ext cx="2360705" cy="11695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латежный календарь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Кэш-</a:t>
            </a:r>
            <a:r>
              <a:rPr lang="ru-RU" sz="1400" dirty="0" err="1">
                <a:solidFill>
                  <a:schemeClr val="bg1">
                    <a:lumMod val="50000"/>
                  </a:schemeClr>
                </a:solidFill>
              </a:rPr>
              <a:t>пулинг</a:t>
            </a:r>
            <a:endParaRPr lang="ru-RU" sz="1400" dirty="0">
              <a:solidFill>
                <a:schemeClr val="bg1">
                  <a:lumMod val="50000"/>
                </a:schemeClr>
              </a:solidFill>
            </a:endParaRP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Кредитные лимиты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Внутригрупповое </a:t>
            </a:r>
            <a:br>
              <a:rPr lang="ru-RU" sz="14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финансировани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293841" y="5478633"/>
            <a:ext cx="2313901" cy="11695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Реестры платежей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Host2Host</a:t>
            </a:r>
            <a:endParaRPr lang="ru-RU" sz="1400" dirty="0">
              <a:solidFill>
                <a:schemeClr val="bg1">
                  <a:lumMod val="50000"/>
                </a:schemeClr>
              </a:solidFill>
            </a:endParaRP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Разнесение выписк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Кассовые операции</a:t>
            </a:r>
          </a:p>
          <a:p>
            <a:pPr marL="215978" indent="-215978"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bg1">
                    <a:lumMod val="50000"/>
                  </a:schemeClr>
                </a:solidFill>
              </a:rPr>
              <a:t>Эквайринг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, корп. карты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631177" y="4922780"/>
            <a:ext cx="0" cy="539984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5421465" y="4922780"/>
            <a:ext cx="0" cy="539984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284788" y="4922780"/>
            <a:ext cx="0" cy="539984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8296633" y="2492493"/>
            <a:ext cx="0" cy="539984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headEnd type="triangl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5421465" y="2494560"/>
            <a:ext cx="0" cy="539984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headEnd type="triangl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611491" y="2494560"/>
            <a:ext cx="0" cy="539984"/>
          </a:xfrm>
          <a:prstGeom prst="line">
            <a:avLst/>
          </a:prstGeom>
          <a:ln w="38100">
            <a:solidFill>
              <a:schemeClr val="bg2">
                <a:lumMod val="75000"/>
              </a:schemeClr>
            </a:solidFill>
            <a:headEnd type="triangle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98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точники данных платежного календаря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408955" y="5951814"/>
            <a:ext cx="10081120" cy="0"/>
          </a:xfrm>
          <a:prstGeom prst="straightConnector1">
            <a:avLst/>
          </a:prstGeom>
          <a:ln w="63500">
            <a:solidFill>
              <a:srgbClr val="FC6E5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"/>
          <p:cNvSpPr/>
          <p:nvPr/>
        </p:nvSpPr>
        <p:spPr>
          <a:xfrm>
            <a:off x="408955" y="1389964"/>
            <a:ext cx="10081120" cy="960779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50000"/>
              </a:spcBef>
            </a:pPr>
            <a:r>
              <a:rPr lang="ru-RU" sz="3200" b="1" dirty="0">
                <a:solidFill>
                  <a:srgbClr val="808080"/>
                </a:solidFill>
                <a:latin typeface="+mn-lt"/>
                <a:cs typeface="Tahoma" panose="020B0604030504040204" pitchFamily="34" charset="0"/>
              </a:rPr>
              <a:t>Платежные позиции (заявки, графики расчетов)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507476" y="3082488"/>
            <a:ext cx="6982599" cy="960779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50000"/>
              </a:spcBef>
            </a:pPr>
            <a:r>
              <a:rPr lang="ru-RU" sz="3200" b="1" dirty="0">
                <a:solidFill>
                  <a:srgbClr val="808080"/>
                </a:solidFill>
                <a:latin typeface="+mn-lt"/>
                <a:cs typeface="Tahoma" panose="020B0604030504040204" pitchFamily="34" charset="0"/>
              </a:rPr>
              <a:t>Операционные планы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605998" y="4775012"/>
            <a:ext cx="3884077" cy="960779"/>
          </a:xfrm>
          <a:prstGeom prst="roundRect">
            <a:avLst/>
          </a:prstGeom>
          <a:solidFill>
            <a:srgbClr val="FBEAA2"/>
          </a:solidFill>
          <a:ln w="63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50000"/>
              </a:spcBef>
            </a:pPr>
            <a:r>
              <a:rPr lang="ru-RU" sz="3200" b="1" dirty="0">
                <a:solidFill>
                  <a:srgbClr val="808080"/>
                </a:solidFill>
                <a:latin typeface="+mn-lt"/>
                <a:cs typeface="Tahoma" panose="020B0604030504040204" pitchFamily="34" charset="0"/>
              </a:rPr>
              <a:t>Показатели бюджетирован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8955" y="6167838"/>
            <a:ext cx="18442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Краткосрочное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планирование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507476" y="6167838"/>
            <a:ext cx="1865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Среднесрочное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планирова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05998" y="6167838"/>
            <a:ext cx="17193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808080"/>
                </a:solidFill>
              </a:rPr>
              <a:t>Долгосрочное</a:t>
            </a:r>
            <a:br>
              <a:rPr lang="ru-RU" dirty="0">
                <a:solidFill>
                  <a:srgbClr val="808080"/>
                </a:solidFill>
              </a:rPr>
            </a:br>
            <a:r>
              <a:rPr lang="ru-RU" dirty="0">
                <a:solidFill>
                  <a:srgbClr val="808080"/>
                </a:solidFill>
              </a:rPr>
              <a:t>планирование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408955" y="1445036"/>
            <a:ext cx="0" cy="5369133"/>
          </a:xfrm>
          <a:prstGeom prst="line">
            <a:avLst/>
          </a:prstGeom>
          <a:ln>
            <a:solidFill>
              <a:srgbClr val="FC6E5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3505299" y="3082488"/>
            <a:ext cx="2177" cy="3731682"/>
          </a:xfrm>
          <a:prstGeom prst="line">
            <a:avLst/>
          </a:prstGeom>
          <a:ln>
            <a:solidFill>
              <a:srgbClr val="FC6E5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V="1">
            <a:off x="6605998" y="4775012"/>
            <a:ext cx="0" cy="2039157"/>
          </a:xfrm>
          <a:prstGeom prst="line">
            <a:avLst/>
          </a:prstGeom>
          <a:ln>
            <a:solidFill>
              <a:srgbClr val="FC6E5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938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нозирование денежных потоков</a:t>
            </a:r>
          </a:p>
        </p:txBody>
      </p:sp>
      <p:sp>
        <p:nvSpPr>
          <p:cNvPr id="27" name="Объект 26">
            <a:extLst>
              <a:ext uri="{FF2B5EF4-FFF2-40B4-BE49-F238E27FC236}">
                <a16:creationId xmlns:a16="http://schemas.microsoft.com/office/drawing/2014/main" id="{3D4435F8-49F6-4B44-99F0-27F8D0B8C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56" y="3562448"/>
            <a:ext cx="11906889" cy="5257429"/>
          </a:xfrm>
        </p:spPr>
        <p:txBody>
          <a:bodyPr/>
          <a:lstStyle/>
          <a:p>
            <a:r>
              <a:rPr lang="ru-RU" sz="1800" dirty="0"/>
              <a:t>Построение среднесрочного прогноза ДДС на основе фактических значений</a:t>
            </a:r>
          </a:p>
          <a:p>
            <a:r>
              <a:rPr lang="ru-RU" sz="1800" dirty="0"/>
              <a:t>Расчет коэффициентов доверия фактическим данным в настраиваемых разрезах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07AF4B-D67C-4129-86EF-FE2A65D9E95E}" type="slidenum">
              <a:rPr lang="ru-RU" altLang="ru-RU" smtClean="0"/>
              <a:pPr/>
              <a:t>61</a:t>
            </a:fld>
            <a:endParaRPr lang="ru-RU" altLang="ru-RU" dirty="0"/>
          </a:p>
        </p:txBody>
      </p:sp>
      <p:sp>
        <p:nvSpPr>
          <p:cNvPr id="6" name="Деньги"/>
          <p:cNvSpPr>
            <a:spLocks noChangeAspect="1" noEditPoints="1"/>
          </p:cNvSpPr>
          <p:nvPr/>
        </p:nvSpPr>
        <p:spPr bwMode="auto">
          <a:xfrm>
            <a:off x="342689" y="1848162"/>
            <a:ext cx="1438430" cy="1081338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rgbClr val="14AA96"/>
          </a:solidFill>
          <a:ln>
            <a:noFill/>
          </a:ln>
        </p:spPr>
        <p:txBody>
          <a:bodyPr/>
          <a:lstStyle/>
          <a:p>
            <a:endParaRPr lang="ru-RU" dirty="0"/>
          </a:p>
        </p:txBody>
      </p:sp>
      <p:grpSp>
        <p:nvGrpSpPr>
          <p:cNvPr id="7" name="Group 75"/>
          <p:cNvGrpSpPr>
            <a:grpSpLocks noChangeAspect="1"/>
          </p:cNvGrpSpPr>
          <p:nvPr/>
        </p:nvGrpSpPr>
        <p:grpSpPr bwMode="auto">
          <a:xfrm>
            <a:off x="7785256" y="1952136"/>
            <a:ext cx="1226862" cy="977365"/>
            <a:chOff x="4533" y="810"/>
            <a:chExt cx="883" cy="704"/>
          </a:xfrm>
        </p:grpSpPr>
        <p:sp>
          <p:nvSpPr>
            <p:cNvPr id="8" name="AutoShape 74"/>
            <p:cNvSpPr>
              <a:spLocks noChangeAspect="1" noChangeArrowheads="1" noTextEdit="1"/>
            </p:cNvSpPr>
            <p:nvPr/>
          </p:nvSpPr>
          <p:spPr bwMode="auto">
            <a:xfrm>
              <a:off x="4533" y="810"/>
              <a:ext cx="883" cy="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9" name="Freeform 76"/>
            <p:cNvSpPr>
              <a:spLocks noEditPoints="1"/>
            </p:cNvSpPr>
            <p:nvPr/>
          </p:nvSpPr>
          <p:spPr bwMode="auto">
            <a:xfrm>
              <a:off x="4533" y="809"/>
              <a:ext cx="884" cy="585"/>
            </a:xfrm>
            <a:custGeom>
              <a:avLst/>
              <a:gdLst>
                <a:gd name="T0" fmla="*/ 107 w 736"/>
                <a:gd name="T1" fmla="*/ 1478 h 486"/>
                <a:gd name="T2" fmla="*/ 0 w 736"/>
                <a:gd name="T3" fmla="*/ 1372 h 486"/>
                <a:gd name="T4" fmla="*/ 0 w 736"/>
                <a:gd name="T5" fmla="*/ 106 h 486"/>
                <a:gd name="T6" fmla="*/ 107 w 736"/>
                <a:gd name="T7" fmla="*/ 0 h 486"/>
                <a:gd name="T8" fmla="*/ 2109 w 736"/>
                <a:gd name="T9" fmla="*/ 0 h 486"/>
                <a:gd name="T10" fmla="*/ 2211 w 736"/>
                <a:gd name="T11" fmla="*/ 106 h 486"/>
                <a:gd name="T12" fmla="*/ 2211 w 736"/>
                <a:gd name="T13" fmla="*/ 1375 h 486"/>
                <a:gd name="T14" fmla="*/ 2109 w 736"/>
                <a:gd name="T15" fmla="*/ 1478 h 486"/>
                <a:gd name="T16" fmla="*/ 107 w 736"/>
                <a:gd name="T17" fmla="*/ 1478 h 486"/>
                <a:gd name="T18" fmla="*/ 136 w 736"/>
                <a:gd name="T19" fmla="*/ 136 h 486"/>
                <a:gd name="T20" fmla="*/ 136 w 736"/>
                <a:gd name="T21" fmla="*/ 1207 h 486"/>
                <a:gd name="T22" fmla="*/ 2078 w 736"/>
                <a:gd name="T23" fmla="*/ 1207 h 486"/>
                <a:gd name="T24" fmla="*/ 2078 w 736"/>
                <a:gd name="T25" fmla="*/ 136 h 486"/>
                <a:gd name="T26" fmla="*/ 136 w 736"/>
                <a:gd name="T27" fmla="*/ 136 h 4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36"/>
                <a:gd name="T43" fmla="*/ 0 h 486"/>
                <a:gd name="T44" fmla="*/ 736 w 736"/>
                <a:gd name="T45" fmla="*/ 486 h 4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36" h="486">
                  <a:moveTo>
                    <a:pt x="36" y="486"/>
                  </a:moveTo>
                  <a:cubicBezTo>
                    <a:pt x="14" y="486"/>
                    <a:pt x="0" y="472"/>
                    <a:pt x="0" y="451"/>
                  </a:cubicBezTo>
                  <a:cubicBezTo>
                    <a:pt x="1" y="312"/>
                    <a:pt x="1" y="174"/>
                    <a:pt x="0" y="35"/>
                  </a:cubicBezTo>
                  <a:cubicBezTo>
                    <a:pt x="0" y="14"/>
                    <a:pt x="14" y="0"/>
                    <a:pt x="36" y="0"/>
                  </a:cubicBezTo>
                  <a:cubicBezTo>
                    <a:pt x="258" y="0"/>
                    <a:pt x="480" y="0"/>
                    <a:pt x="702" y="0"/>
                  </a:cubicBezTo>
                  <a:cubicBezTo>
                    <a:pt x="725" y="0"/>
                    <a:pt x="736" y="11"/>
                    <a:pt x="736" y="35"/>
                  </a:cubicBezTo>
                  <a:cubicBezTo>
                    <a:pt x="736" y="174"/>
                    <a:pt x="736" y="313"/>
                    <a:pt x="736" y="452"/>
                  </a:cubicBezTo>
                  <a:cubicBezTo>
                    <a:pt x="736" y="475"/>
                    <a:pt x="725" y="486"/>
                    <a:pt x="702" y="486"/>
                  </a:cubicBezTo>
                  <a:cubicBezTo>
                    <a:pt x="591" y="486"/>
                    <a:pt x="146" y="486"/>
                    <a:pt x="36" y="486"/>
                  </a:cubicBezTo>
                  <a:close/>
                  <a:moveTo>
                    <a:pt x="45" y="45"/>
                  </a:moveTo>
                  <a:cubicBezTo>
                    <a:pt x="45" y="163"/>
                    <a:pt x="45" y="280"/>
                    <a:pt x="45" y="397"/>
                  </a:cubicBezTo>
                  <a:cubicBezTo>
                    <a:pt x="261" y="397"/>
                    <a:pt x="477" y="397"/>
                    <a:pt x="692" y="397"/>
                  </a:cubicBezTo>
                  <a:cubicBezTo>
                    <a:pt x="692" y="279"/>
                    <a:pt x="692" y="162"/>
                    <a:pt x="692" y="45"/>
                  </a:cubicBezTo>
                  <a:cubicBezTo>
                    <a:pt x="476" y="45"/>
                    <a:pt x="261" y="45"/>
                    <a:pt x="45" y="45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0" name="Freeform 77"/>
            <p:cNvSpPr>
              <a:spLocks noEditPoints="1"/>
            </p:cNvSpPr>
            <p:nvPr/>
          </p:nvSpPr>
          <p:spPr bwMode="auto">
            <a:xfrm>
              <a:off x="4533" y="809"/>
              <a:ext cx="884" cy="585"/>
            </a:xfrm>
            <a:custGeom>
              <a:avLst/>
              <a:gdLst>
                <a:gd name="T0" fmla="*/ 107 w 736"/>
                <a:gd name="T1" fmla="*/ 1478 h 486"/>
                <a:gd name="T2" fmla="*/ 0 w 736"/>
                <a:gd name="T3" fmla="*/ 1372 h 486"/>
                <a:gd name="T4" fmla="*/ 0 w 736"/>
                <a:gd name="T5" fmla="*/ 106 h 486"/>
                <a:gd name="T6" fmla="*/ 107 w 736"/>
                <a:gd name="T7" fmla="*/ 0 h 486"/>
                <a:gd name="T8" fmla="*/ 2109 w 736"/>
                <a:gd name="T9" fmla="*/ 0 h 486"/>
                <a:gd name="T10" fmla="*/ 2211 w 736"/>
                <a:gd name="T11" fmla="*/ 106 h 486"/>
                <a:gd name="T12" fmla="*/ 2211 w 736"/>
                <a:gd name="T13" fmla="*/ 1375 h 486"/>
                <a:gd name="T14" fmla="*/ 2109 w 736"/>
                <a:gd name="T15" fmla="*/ 1478 h 486"/>
                <a:gd name="T16" fmla="*/ 107 w 736"/>
                <a:gd name="T17" fmla="*/ 1478 h 486"/>
                <a:gd name="T18" fmla="*/ 136 w 736"/>
                <a:gd name="T19" fmla="*/ 136 h 486"/>
                <a:gd name="T20" fmla="*/ 136 w 736"/>
                <a:gd name="T21" fmla="*/ 1207 h 486"/>
                <a:gd name="T22" fmla="*/ 2078 w 736"/>
                <a:gd name="T23" fmla="*/ 1207 h 486"/>
                <a:gd name="T24" fmla="*/ 2078 w 736"/>
                <a:gd name="T25" fmla="*/ 136 h 486"/>
                <a:gd name="T26" fmla="*/ 136 w 736"/>
                <a:gd name="T27" fmla="*/ 136 h 4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36"/>
                <a:gd name="T43" fmla="*/ 0 h 486"/>
                <a:gd name="T44" fmla="*/ 736 w 736"/>
                <a:gd name="T45" fmla="*/ 486 h 4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36" h="486">
                  <a:moveTo>
                    <a:pt x="36" y="486"/>
                  </a:moveTo>
                  <a:cubicBezTo>
                    <a:pt x="14" y="486"/>
                    <a:pt x="0" y="472"/>
                    <a:pt x="0" y="451"/>
                  </a:cubicBezTo>
                  <a:cubicBezTo>
                    <a:pt x="1" y="312"/>
                    <a:pt x="1" y="174"/>
                    <a:pt x="0" y="35"/>
                  </a:cubicBezTo>
                  <a:cubicBezTo>
                    <a:pt x="0" y="14"/>
                    <a:pt x="14" y="0"/>
                    <a:pt x="36" y="0"/>
                  </a:cubicBezTo>
                  <a:cubicBezTo>
                    <a:pt x="258" y="0"/>
                    <a:pt x="480" y="0"/>
                    <a:pt x="702" y="0"/>
                  </a:cubicBezTo>
                  <a:cubicBezTo>
                    <a:pt x="725" y="0"/>
                    <a:pt x="736" y="11"/>
                    <a:pt x="736" y="35"/>
                  </a:cubicBezTo>
                  <a:cubicBezTo>
                    <a:pt x="736" y="174"/>
                    <a:pt x="736" y="313"/>
                    <a:pt x="736" y="452"/>
                  </a:cubicBezTo>
                  <a:cubicBezTo>
                    <a:pt x="736" y="475"/>
                    <a:pt x="725" y="486"/>
                    <a:pt x="702" y="486"/>
                  </a:cubicBezTo>
                  <a:cubicBezTo>
                    <a:pt x="591" y="486"/>
                    <a:pt x="146" y="486"/>
                    <a:pt x="36" y="486"/>
                  </a:cubicBezTo>
                  <a:close/>
                  <a:moveTo>
                    <a:pt x="45" y="45"/>
                  </a:moveTo>
                  <a:cubicBezTo>
                    <a:pt x="45" y="163"/>
                    <a:pt x="45" y="280"/>
                    <a:pt x="45" y="397"/>
                  </a:cubicBezTo>
                  <a:cubicBezTo>
                    <a:pt x="261" y="397"/>
                    <a:pt x="477" y="397"/>
                    <a:pt x="692" y="397"/>
                  </a:cubicBezTo>
                  <a:cubicBezTo>
                    <a:pt x="692" y="279"/>
                    <a:pt x="692" y="162"/>
                    <a:pt x="692" y="45"/>
                  </a:cubicBezTo>
                  <a:cubicBezTo>
                    <a:pt x="476" y="45"/>
                    <a:pt x="261" y="45"/>
                    <a:pt x="45" y="45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1" name="Freeform 78"/>
            <p:cNvSpPr>
              <a:spLocks/>
            </p:cNvSpPr>
            <p:nvPr/>
          </p:nvSpPr>
          <p:spPr bwMode="auto">
            <a:xfrm>
              <a:off x="4841" y="1430"/>
              <a:ext cx="271" cy="84"/>
            </a:xfrm>
            <a:custGeom>
              <a:avLst/>
              <a:gdLst>
                <a:gd name="T0" fmla="*/ 559 w 226"/>
                <a:gd name="T1" fmla="*/ 0 h 70"/>
                <a:gd name="T2" fmla="*/ 673 w 226"/>
                <a:gd name="T3" fmla="*/ 209 h 70"/>
                <a:gd name="T4" fmla="*/ 0 w 226"/>
                <a:gd name="T5" fmla="*/ 209 h 70"/>
                <a:gd name="T6" fmla="*/ 107 w 226"/>
                <a:gd name="T7" fmla="*/ 0 h 70"/>
                <a:gd name="T8" fmla="*/ 559 w 226"/>
                <a:gd name="T9" fmla="*/ 0 h 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6"/>
                <a:gd name="T16" fmla="*/ 0 h 70"/>
                <a:gd name="T17" fmla="*/ 226 w 226"/>
                <a:gd name="T18" fmla="*/ 70 h 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6" h="70">
                  <a:moveTo>
                    <a:pt x="188" y="0"/>
                  </a:moveTo>
                  <a:cubicBezTo>
                    <a:pt x="188" y="53"/>
                    <a:pt x="226" y="70"/>
                    <a:pt x="226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36" y="49"/>
                    <a:pt x="36" y="0"/>
                  </a:cubicBezTo>
                  <a:cubicBezTo>
                    <a:pt x="87" y="0"/>
                    <a:pt x="138" y="0"/>
                    <a:pt x="188" y="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2" name="Freeform 79"/>
            <p:cNvSpPr>
              <a:spLocks/>
            </p:cNvSpPr>
            <p:nvPr/>
          </p:nvSpPr>
          <p:spPr bwMode="auto">
            <a:xfrm>
              <a:off x="4682" y="917"/>
              <a:ext cx="547" cy="170"/>
            </a:xfrm>
            <a:custGeom>
              <a:avLst/>
              <a:gdLst>
                <a:gd name="T0" fmla="*/ 0 w 455"/>
                <a:gd name="T1" fmla="*/ 356 h 141"/>
                <a:gd name="T2" fmla="*/ 602 w 455"/>
                <a:gd name="T3" fmla="*/ 35 h 141"/>
                <a:gd name="T4" fmla="*/ 643 w 455"/>
                <a:gd name="T5" fmla="*/ 41 h 141"/>
                <a:gd name="T6" fmla="*/ 973 w 455"/>
                <a:gd name="T7" fmla="*/ 257 h 141"/>
                <a:gd name="T8" fmla="*/ 1324 w 455"/>
                <a:gd name="T9" fmla="*/ 0 h 141"/>
                <a:gd name="T10" fmla="*/ 1374 w 455"/>
                <a:gd name="T11" fmla="*/ 74 h 141"/>
                <a:gd name="T12" fmla="*/ 980 w 455"/>
                <a:gd name="T13" fmla="*/ 363 h 141"/>
                <a:gd name="T14" fmla="*/ 653 w 455"/>
                <a:gd name="T15" fmla="*/ 153 h 141"/>
                <a:gd name="T16" fmla="*/ 585 w 455"/>
                <a:gd name="T17" fmla="*/ 151 h 141"/>
                <a:gd name="T18" fmla="*/ 42 w 455"/>
                <a:gd name="T19" fmla="*/ 433 h 141"/>
                <a:gd name="T20" fmla="*/ 0 w 455"/>
                <a:gd name="T21" fmla="*/ 356 h 1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55"/>
                <a:gd name="T34" fmla="*/ 0 h 141"/>
                <a:gd name="T35" fmla="*/ 455 w 455"/>
                <a:gd name="T36" fmla="*/ 141 h 1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55" h="141">
                  <a:moveTo>
                    <a:pt x="0" y="115"/>
                  </a:moveTo>
                  <a:cubicBezTo>
                    <a:pt x="36" y="97"/>
                    <a:pt x="168" y="29"/>
                    <a:pt x="200" y="12"/>
                  </a:cubicBezTo>
                  <a:cubicBezTo>
                    <a:pt x="205" y="10"/>
                    <a:pt x="208" y="10"/>
                    <a:pt x="213" y="13"/>
                  </a:cubicBezTo>
                  <a:cubicBezTo>
                    <a:pt x="247" y="35"/>
                    <a:pt x="323" y="84"/>
                    <a:pt x="323" y="84"/>
                  </a:cubicBezTo>
                  <a:cubicBezTo>
                    <a:pt x="323" y="84"/>
                    <a:pt x="388" y="36"/>
                    <a:pt x="438" y="0"/>
                  </a:cubicBezTo>
                  <a:cubicBezTo>
                    <a:pt x="443" y="8"/>
                    <a:pt x="449" y="16"/>
                    <a:pt x="455" y="24"/>
                  </a:cubicBezTo>
                  <a:cubicBezTo>
                    <a:pt x="400" y="64"/>
                    <a:pt x="324" y="119"/>
                    <a:pt x="324" y="119"/>
                  </a:cubicBezTo>
                  <a:cubicBezTo>
                    <a:pt x="324" y="119"/>
                    <a:pt x="220" y="54"/>
                    <a:pt x="216" y="50"/>
                  </a:cubicBezTo>
                  <a:cubicBezTo>
                    <a:pt x="208" y="43"/>
                    <a:pt x="202" y="44"/>
                    <a:pt x="194" y="49"/>
                  </a:cubicBezTo>
                  <a:cubicBezTo>
                    <a:pt x="137" y="79"/>
                    <a:pt x="17" y="140"/>
                    <a:pt x="14" y="141"/>
                  </a:cubicBezTo>
                  <a:cubicBezTo>
                    <a:pt x="9" y="133"/>
                    <a:pt x="5" y="124"/>
                    <a:pt x="0" y="115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3" name="Freeform 80"/>
            <p:cNvSpPr>
              <a:spLocks/>
            </p:cNvSpPr>
            <p:nvPr/>
          </p:nvSpPr>
          <p:spPr bwMode="auto">
            <a:xfrm>
              <a:off x="4886" y="1043"/>
              <a:ext cx="69" cy="194"/>
            </a:xfrm>
            <a:custGeom>
              <a:avLst/>
              <a:gdLst>
                <a:gd name="T0" fmla="*/ 0 w 57"/>
                <a:gd name="T1" fmla="*/ 0 h 161"/>
                <a:gd name="T2" fmla="*/ 180 w 57"/>
                <a:gd name="T3" fmla="*/ 0 h 161"/>
                <a:gd name="T4" fmla="*/ 180 w 57"/>
                <a:gd name="T5" fmla="*/ 494 h 161"/>
                <a:gd name="T6" fmla="*/ 0 w 57"/>
                <a:gd name="T7" fmla="*/ 494 h 161"/>
                <a:gd name="T8" fmla="*/ 0 w 57"/>
                <a:gd name="T9" fmla="*/ 0 h 1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161"/>
                <a:gd name="T17" fmla="*/ 57 w 57"/>
                <a:gd name="T18" fmla="*/ 161 h 1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161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54"/>
                    <a:pt x="57" y="107"/>
                    <a:pt x="57" y="161"/>
                  </a:cubicBezTo>
                  <a:cubicBezTo>
                    <a:pt x="38" y="161"/>
                    <a:pt x="19" y="161"/>
                    <a:pt x="0" y="161"/>
                  </a:cubicBezTo>
                  <a:cubicBezTo>
                    <a:pt x="0" y="108"/>
                    <a:pt x="0" y="54"/>
                    <a:pt x="0" y="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4" name="Freeform 81"/>
            <p:cNvSpPr>
              <a:spLocks/>
            </p:cNvSpPr>
            <p:nvPr/>
          </p:nvSpPr>
          <p:spPr bwMode="auto">
            <a:xfrm>
              <a:off x="5160" y="1043"/>
              <a:ext cx="69" cy="194"/>
            </a:xfrm>
            <a:custGeom>
              <a:avLst/>
              <a:gdLst>
                <a:gd name="T0" fmla="*/ 0 w 57"/>
                <a:gd name="T1" fmla="*/ 0 h 161"/>
                <a:gd name="T2" fmla="*/ 180 w 57"/>
                <a:gd name="T3" fmla="*/ 0 h 161"/>
                <a:gd name="T4" fmla="*/ 180 w 57"/>
                <a:gd name="T5" fmla="*/ 494 h 161"/>
                <a:gd name="T6" fmla="*/ 0 w 57"/>
                <a:gd name="T7" fmla="*/ 494 h 161"/>
                <a:gd name="T8" fmla="*/ 0 w 57"/>
                <a:gd name="T9" fmla="*/ 0 h 1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161"/>
                <a:gd name="T17" fmla="*/ 57 w 57"/>
                <a:gd name="T18" fmla="*/ 161 h 1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161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54"/>
                    <a:pt x="57" y="108"/>
                    <a:pt x="57" y="161"/>
                  </a:cubicBezTo>
                  <a:cubicBezTo>
                    <a:pt x="38" y="161"/>
                    <a:pt x="19" y="161"/>
                    <a:pt x="0" y="161"/>
                  </a:cubicBezTo>
                  <a:cubicBezTo>
                    <a:pt x="0" y="108"/>
                    <a:pt x="0" y="54"/>
                    <a:pt x="0" y="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5" name="Freeform 82"/>
            <p:cNvSpPr>
              <a:spLocks/>
            </p:cNvSpPr>
            <p:nvPr/>
          </p:nvSpPr>
          <p:spPr bwMode="auto">
            <a:xfrm>
              <a:off x="4735" y="1106"/>
              <a:ext cx="69" cy="131"/>
            </a:xfrm>
            <a:custGeom>
              <a:avLst/>
              <a:gdLst>
                <a:gd name="T0" fmla="*/ 165 w 58"/>
                <a:gd name="T1" fmla="*/ 328 h 109"/>
                <a:gd name="T2" fmla="*/ 0 w 58"/>
                <a:gd name="T3" fmla="*/ 328 h 109"/>
                <a:gd name="T4" fmla="*/ 0 w 58"/>
                <a:gd name="T5" fmla="*/ 0 h 109"/>
                <a:gd name="T6" fmla="*/ 165 w 58"/>
                <a:gd name="T7" fmla="*/ 0 h 109"/>
                <a:gd name="T8" fmla="*/ 165 w 58"/>
                <a:gd name="T9" fmla="*/ 328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09"/>
                <a:gd name="T17" fmla="*/ 58 w 58"/>
                <a:gd name="T18" fmla="*/ 109 h 10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09">
                  <a:moveTo>
                    <a:pt x="58" y="109"/>
                  </a:moveTo>
                  <a:cubicBezTo>
                    <a:pt x="39" y="109"/>
                    <a:pt x="20" y="109"/>
                    <a:pt x="0" y="109"/>
                  </a:cubicBezTo>
                  <a:cubicBezTo>
                    <a:pt x="0" y="73"/>
                    <a:pt x="0" y="37"/>
                    <a:pt x="0" y="0"/>
                  </a:cubicBezTo>
                  <a:cubicBezTo>
                    <a:pt x="20" y="0"/>
                    <a:pt x="39" y="0"/>
                    <a:pt x="58" y="0"/>
                  </a:cubicBezTo>
                  <a:cubicBezTo>
                    <a:pt x="58" y="37"/>
                    <a:pt x="58" y="73"/>
                    <a:pt x="58" y="109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6" name="Freeform 83"/>
            <p:cNvSpPr>
              <a:spLocks/>
            </p:cNvSpPr>
            <p:nvPr/>
          </p:nvSpPr>
          <p:spPr bwMode="auto">
            <a:xfrm>
              <a:off x="5027" y="1106"/>
              <a:ext cx="69" cy="132"/>
            </a:xfrm>
            <a:custGeom>
              <a:avLst/>
              <a:gdLst>
                <a:gd name="T0" fmla="*/ 165 w 58"/>
                <a:gd name="T1" fmla="*/ 329 h 110"/>
                <a:gd name="T2" fmla="*/ 0 w 58"/>
                <a:gd name="T3" fmla="*/ 329 h 110"/>
                <a:gd name="T4" fmla="*/ 0 w 58"/>
                <a:gd name="T5" fmla="*/ 0 h 110"/>
                <a:gd name="T6" fmla="*/ 165 w 58"/>
                <a:gd name="T7" fmla="*/ 0 h 110"/>
                <a:gd name="T8" fmla="*/ 165 w 58"/>
                <a:gd name="T9" fmla="*/ 329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10"/>
                <a:gd name="T17" fmla="*/ 58 w 58"/>
                <a:gd name="T18" fmla="*/ 110 h 1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10">
                  <a:moveTo>
                    <a:pt x="58" y="110"/>
                  </a:moveTo>
                  <a:cubicBezTo>
                    <a:pt x="39" y="110"/>
                    <a:pt x="20" y="110"/>
                    <a:pt x="0" y="110"/>
                  </a:cubicBezTo>
                  <a:cubicBezTo>
                    <a:pt x="0" y="73"/>
                    <a:pt x="0" y="37"/>
                    <a:pt x="0" y="0"/>
                  </a:cubicBezTo>
                  <a:cubicBezTo>
                    <a:pt x="20" y="0"/>
                    <a:pt x="39" y="0"/>
                    <a:pt x="58" y="0"/>
                  </a:cubicBezTo>
                  <a:cubicBezTo>
                    <a:pt x="58" y="37"/>
                    <a:pt x="58" y="73"/>
                    <a:pt x="58" y="110"/>
                  </a:cubicBez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  <p:sp>
          <p:nvSpPr>
            <p:cNvPr id="17" name="Freeform 84"/>
            <p:cNvSpPr>
              <a:spLocks/>
            </p:cNvSpPr>
            <p:nvPr/>
          </p:nvSpPr>
          <p:spPr bwMode="auto">
            <a:xfrm>
              <a:off x="5183" y="901"/>
              <a:ext cx="77" cy="71"/>
            </a:xfrm>
            <a:custGeom>
              <a:avLst/>
              <a:gdLst>
                <a:gd name="T0" fmla="*/ 77 w 77"/>
                <a:gd name="T1" fmla="*/ 0 h 71"/>
                <a:gd name="T2" fmla="*/ 47 w 77"/>
                <a:gd name="T3" fmla="*/ 71 h 71"/>
                <a:gd name="T4" fmla="*/ 0 w 77"/>
                <a:gd name="T5" fmla="*/ 7 h 71"/>
                <a:gd name="T6" fmla="*/ 77 w 77"/>
                <a:gd name="T7" fmla="*/ 0 h 71"/>
                <a:gd name="T8" fmla="*/ 77 w 77"/>
                <a:gd name="T9" fmla="*/ 0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71"/>
                <a:gd name="T17" fmla="*/ 77 w 77"/>
                <a:gd name="T18" fmla="*/ 71 h 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71">
                  <a:moveTo>
                    <a:pt x="77" y="0"/>
                  </a:moveTo>
                  <a:lnTo>
                    <a:pt x="47" y="71"/>
                  </a:lnTo>
                  <a:lnTo>
                    <a:pt x="0" y="7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14AA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14AA96"/>
                </a:solidFill>
              </a:endParaRPr>
            </a:p>
          </p:txBody>
        </p:sp>
      </p:grpSp>
      <p:pic>
        <p:nvPicPr>
          <p:cNvPr id="5" name="Рисунок 4" descr="Шестеренки со сплошной заливкой">
            <a:extLst>
              <a:ext uri="{FF2B5EF4-FFF2-40B4-BE49-F238E27FC236}">
                <a16:creationId xmlns:a16="http://schemas.microsoft.com/office/drawing/2014/main" id="{FA8D16D9-1F4C-4328-A6FF-BE0DAAE35A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087971" y="1786928"/>
            <a:ext cx="1142572" cy="114257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1AF5AE6-36CF-455E-99EE-22BFDF2194AC}"/>
              </a:ext>
            </a:extLst>
          </p:cNvPr>
          <p:cNvSpPr txBox="1"/>
          <p:nvPr/>
        </p:nvSpPr>
        <p:spPr>
          <a:xfrm>
            <a:off x="335614" y="2951862"/>
            <a:ext cx="1242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Факт ДДС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858C8E-D311-47EE-885A-CED87F68CF77}"/>
              </a:ext>
            </a:extLst>
          </p:cNvPr>
          <p:cNvSpPr txBox="1"/>
          <p:nvPr/>
        </p:nvSpPr>
        <p:spPr>
          <a:xfrm>
            <a:off x="3756014" y="2957567"/>
            <a:ext cx="1825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Экстраполяция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00A1AD-6227-4DA3-B2FB-934D41082E0B}"/>
              </a:ext>
            </a:extLst>
          </p:cNvPr>
          <p:cNvSpPr txBox="1"/>
          <p:nvPr/>
        </p:nvSpPr>
        <p:spPr>
          <a:xfrm>
            <a:off x="7524527" y="2951862"/>
            <a:ext cx="15975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14AA96"/>
                </a:solidFill>
              </a:rPr>
              <a:t>Прогноз ДДС</a:t>
            </a:r>
          </a:p>
        </p:txBody>
      </p:sp>
      <p:pic>
        <p:nvPicPr>
          <p:cNvPr id="23" name="Рисунок 22" descr="Добавить со сплошной заливкой">
            <a:extLst>
              <a:ext uri="{FF2B5EF4-FFF2-40B4-BE49-F238E27FC236}">
                <a16:creationId xmlns:a16="http://schemas.microsoft.com/office/drawing/2014/main" id="{B1AE02EF-08E9-4203-88B8-F4F8773D52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368878" y="1983661"/>
            <a:ext cx="914612" cy="91461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5E1B303-F437-4C7B-AFB3-FD7869F313C8}"/>
              </a:ext>
            </a:extLst>
          </p:cNvPr>
          <p:cNvSpPr txBox="1"/>
          <p:nvPr/>
        </p:nvSpPr>
        <p:spPr>
          <a:xfrm>
            <a:off x="6287464" y="1717525"/>
            <a:ext cx="843696" cy="1446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802" dirty="0">
                <a:solidFill>
                  <a:srgbClr val="14AA96"/>
                </a:solidFill>
              </a:rPr>
              <a:t>=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9309" y="4563411"/>
            <a:ext cx="4960848" cy="19305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97479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не утонуть под толщей заявок?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587666"/>
            <a:ext cx="12195175" cy="522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49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10263"/>
            <a:ext cx="12195175" cy="520390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становка отбор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169595" y="2709714"/>
            <a:ext cx="5904656" cy="720080"/>
          </a:xfrm>
          <a:prstGeom prst="roundRect">
            <a:avLst/>
          </a:prstGeom>
          <a:noFill/>
          <a:ln w="3175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/>
          <p:cNvCxnSpPr/>
          <p:nvPr/>
        </p:nvCxnSpPr>
        <p:spPr>
          <a:xfrm flipH="1" flipV="1">
            <a:off x="3361283" y="2421682"/>
            <a:ext cx="2808312" cy="504056"/>
          </a:xfrm>
          <a:prstGeom prst="straightConnector1">
            <a:avLst/>
          </a:prstGeom>
          <a:noFill/>
          <a:ln w="31750">
            <a:solidFill>
              <a:srgbClr val="FC6E51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22863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31615"/>
            <a:ext cx="12195175" cy="518255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вод только кассовых разрыв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169595" y="5085978"/>
            <a:ext cx="2232248" cy="360040"/>
          </a:xfrm>
          <a:prstGeom prst="roundRect">
            <a:avLst/>
          </a:prstGeom>
          <a:noFill/>
          <a:ln w="3175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/>
          <p:cNvCxnSpPr>
            <a:stCxn id="6" idx="1"/>
          </p:cNvCxnSpPr>
          <p:nvPr/>
        </p:nvCxnSpPr>
        <p:spPr>
          <a:xfrm flipH="1" flipV="1">
            <a:off x="5377507" y="4005858"/>
            <a:ext cx="792088" cy="1260140"/>
          </a:xfrm>
          <a:prstGeom prst="straightConnector1">
            <a:avLst/>
          </a:prstGeom>
          <a:noFill/>
          <a:ln w="31750">
            <a:solidFill>
              <a:srgbClr val="FC6E51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28331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терфейс </a:t>
            </a:r>
            <a:r>
              <a:rPr lang="en-US" dirty="0"/>
              <a:t>master-detail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47391"/>
            <a:ext cx="12195175" cy="5166779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4873451" y="3789834"/>
            <a:ext cx="1224136" cy="360040"/>
          </a:xfrm>
          <a:prstGeom prst="roundRect">
            <a:avLst/>
          </a:prstGeom>
          <a:noFill/>
          <a:ln w="3175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6097587" y="3717826"/>
            <a:ext cx="1584176" cy="216024"/>
          </a:xfrm>
          <a:prstGeom prst="straightConnector1">
            <a:avLst/>
          </a:prstGeom>
          <a:noFill/>
          <a:ln w="31750">
            <a:solidFill>
              <a:srgbClr val="FC6E51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959347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страиваемый перечень детальных операций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47391"/>
            <a:ext cx="12195175" cy="516677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7267" y="3168313"/>
            <a:ext cx="5298041" cy="21249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339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кетная работа со списком платежей и стоп-листом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593308"/>
            <a:ext cx="12195175" cy="522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585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ддержка платежных дней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418" y="1248413"/>
            <a:ext cx="10518338" cy="4248472"/>
          </a:xfrm>
        </p:spPr>
        <p:txBody>
          <a:bodyPr>
            <a:normAutofit/>
          </a:bodyPr>
          <a:lstStyle/>
          <a:p>
            <a:r>
              <a:rPr lang="ru-RU" dirty="0"/>
              <a:t>Возможность указать в настройках платежные дни</a:t>
            </a:r>
            <a:br>
              <a:rPr lang="ru-RU" dirty="0"/>
            </a:br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На неплатежный день нельзя разместить заявку</a:t>
            </a:r>
          </a:p>
          <a:p>
            <a:r>
              <a:rPr lang="ru-RU" dirty="0"/>
              <a:t>Перенос платежа на следующий или предыдущий день учитывает график платежных дней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027" y="1773610"/>
            <a:ext cx="4073213" cy="19442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5099" y="5350298"/>
            <a:ext cx="8137639" cy="13435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7117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Отображение</a:t>
            </a:r>
            <a:r>
              <a:rPr lang="en-US" altLang="ru-RU" dirty="0"/>
              <a:t> </a:t>
            </a:r>
            <a:r>
              <a:rPr lang="ru-RU" altLang="ru-RU" dirty="0"/>
              <a:t>овердрафтов и МНО</a:t>
            </a:r>
            <a:br>
              <a:rPr lang="ru-RU" altLang="ru-RU" dirty="0"/>
            </a:b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217197" y="152436"/>
            <a:ext cx="6337576" cy="1081338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kern="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03"/>
          <a:stretch/>
        </p:blipFill>
        <p:spPr>
          <a:xfrm>
            <a:off x="1522940" y="980957"/>
            <a:ext cx="9146117" cy="330514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2940" y="4870289"/>
            <a:ext cx="9146117" cy="1719291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7" name="Стрелка вниз 6"/>
          <p:cNvSpPr/>
          <p:nvPr/>
        </p:nvSpPr>
        <p:spPr bwMode="auto">
          <a:xfrm>
            <a:off x="6169613" y="4438139"/>
            <a:ext cx="576494" cy="216074"/>
          </a:xfrm>
          <a:prstGeom prst="downArrow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61" tIns="45731" rIns="91461" bIns="45731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3862" y="4410699"/>
            <a:ext cx="4430150" cy="17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961883" y="4435986"/>
            <a:ext cx="2610614" cy="2616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/>
              <a:t>Лимит по овердрафту </a:t>
            </a:r>
            <a:r>
              <a:rPr lang="ru-RU" sz="1100" b="1" dirty="0"/>
              <a:t>3 000 000 </a:t>
            </a:r>
            <a:r>
              <a:rPr lang="ru-RU" sz="1100" dirty="0"/>
              <a:t>руб.</a:t>
            </a:r>
          </a:p>
        </p:txBody>
      </p:sp>
      <p:cxnSp>
        <p:nvCxnSpPr>
          <p:cNvPr id="10" name="Прямая со стрелкой 9"/>
          <p:cNvCxnSpPr/>
          <p:nvPr/>
        </p:nvCxnSpPr>
        <p:spPr bwMode="auto">
          <a:xfrm>
            <a:off x="3792797" y="4078016"/>
            <a:ext cx="396092" cy="324075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Овал 11"/>
          <p:cNvSpPr/>
          <p:nvPr/>
        </p:nvSpPr>
        <p:spPr bwMode="auto">
          <a:xfrm>
            <a:off x="3792798" y="1898222"/>
            <a:ext cx="540125" cy="540125"/>
          </a:xfrm>
          <a:prstGeom prst="ellipse">
            <a:avLst/>
          </a:prstGeom>
          <a:solidFill>
            <a:srgbClr val="F9E383">
              <a:alpha val="0"/>
            </a:srgbClr>
          </a:solidFill>
          <a:ln w="4445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61" tIns="45731" rIns="91461" bIns="45731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876852" y="4534554"/>
            <a:ext cx="2788588" cy="2462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0070C0"/>
                </a:solidFill>
              </a:rPr>
              <a:t>Заявка на расход на сумму: 19 850 000 руб.</a:t>
            </a:r>
          </a:p>
        </p:txBody>
      </p:sp>
    </p:spTree>
    <p:extLst>
      <p:ext uri="{BB962C8B-B14F-4D97-AF65-F5344CB8AC3E}">
        <p14:creationId xmlns:p14="http://schemas.microsoft.com/office/powerpoint/2010/main" val="114458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Управление договорам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904427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бота с наличными денежными средствами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Объект 10"/>
          <p:cNvSpPr>
            <a:spLocks noGrp="1"/>
          </p:cNvSpPr>
          <p:nvPr>
            <p:ph sz="half" idx="2"/>
          </p:nvPr>
        </p:nvSpPr>
        <p:spPr>
          <a:xfrm>
            <a:off x="7071131" y="2205375"/>
            <a:ext cx="4296877" cy="3888612"/>
          </a:xfrm>
        </p:spPr>
        <p:txBody>
          <a:bodyPr/>
          <a:lstStyle/>
          <a:p>
            <a:r>
              <a:rPr lang="ru-RU" sz="2000" dirty="0"/>
              <a:t>Вывод планируемых остатков по кассам</a:t>
            </a:r>
          </a:p>
          <a:p>
            <a:r>
              <a:rPr lang="ru-RU" sz="2000" dirty="0"/>
              <a:t>Перевод средств:</a:t>
            </a:r>
          </a:p>
          <a:p>
            <a:pPr lvl="1"/>
            <a:r>
              <a:rPr lang="ru-RU" sz="1600" dirty="0"/>
              <a:t>Со счета на кассу</a:t>
            </a:r>
          </a:p>
          <a:p>
            <a:pPr lvl="1"/>
            <a:r>
              <a:rPr lang="ru-RU" sz="1600" dirty="0"/>
              <a:t>Из кассы на счет</a:t>
            </a:r>
          </a:p>
          <a:p>
            <a:pPr lvl="1"/>
            <a:r>
              <a:rPr lang="ru-RU" sz="1600" dirty="0"/>
              <a:t>Между кассам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07AF4B-D67C-4129-86EF-FE2A65D9E95E}" type="slidenum">
              <a:rPr lang="ru-RU" altLang="ru-RU" smtClean="0"/>
              <a:pPr>
                <a:defRPr/>
              </a:pPr>
              <a:t>70</a:t>
            </a:fld>
            <a:endParaRPr lang="ru-RU" alt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95" y="1269099"/>
            <a:ext cx="6926988" cy="51713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21423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мощь в принятии решений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half" idx="2"/>
          </p:nvPr>
        </p:nvSpPr>
        <p:spPr>
          <a:xfrm>
            <a:off x="6601760" y="2277771"/>
            <a:ext cx="5415397" cy="5257429"/>
          </a:xfrm>
        </p:spPr>
        <p:txBody>
          <a:bodyPr/>
          <a:lstStyle/>
          <a:p>
            <a:r>
              <a:rPr lang="ru-RU" sz="2000" dirty="0"/>
              <a:t>Дополнительная информация по банковскому счету:</a:t>
            </a:r>
          </a:p>
          <a:p>
            <a:pPr lvl="1"/>
            <a:r>
              <a:rPr lang="ru-RU" sz="1800" dirty="0"/>
              <a:t>Среднедневной остаток</a:t>
            </a:r>
          </a:p>
          <a:p>
            <a:pPr lvl="1"/>
            <a:r>
              <a:rPr lang="ru-RU" sz="1800" dirty="0"/>
              <a:t>Информация о договоре овердрафта / МНО</a:t>
            </a:r>
          </a:p>
          <a:p>
            <a:pPr lvl="1"/>
            <a:r>
              <a:rPr lang="ru-RU" sz="1800" dirty="0"/>
              <a:t>Статистика использования овердрафта</a:t>
            </a:r>
          </a:p>
          <a:p>
            <a:r>
              <a:rPr lang="ru-RU" sz="2200" dirty="0"/>
              <a:t>Отмечены точками ячейки, в которых есть операции поступления или списания средст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0079B6D-A3E9-455F-A966-8A3C0FE51AC2}" type="slidenum">
              <a:rPr lang="ru-RU" altLang="ru-RU" smtClean="0"/>
              <a:pPr>
                <a:defRPr/>
              </a:pPr>
              <a:t>71</a:t>
            </a:fld>
            <a:endParaRPr lang="ru-RU" altLang="ru-RU" dirty="0"/>
          </a:p>
        </p:txBody>
      </p:sp>
      <p:pic>
        <p:nvPicPr>
          <p:cNvPr id="12" name="Объект 11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19540" y="1485129"/>
            <a:ext cx="6482220" cy="39115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066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мощь в принятии решений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0079B6D-A3E9-455F-A966-8A3C0FE51AC2}" type="slidenum">
              <a:rPr lang="ru-RU" altLang="ru-RU" smtClean="0"/>
              <a:pPr>
                <a:defRPr/>
              </a:pPr>
              <a:t>72</a:t>
            </a:fld>
            <a:endParaRPr lang="ru-RU" altLang="ru-RU" dirty="0"/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143548" y="5446485"/>
            <a:ext cx="11906889" cy="1152023"/>
          </a:xfrm>
        </p:spPr>
        <p:txBody>
          <a:bodyPr/>
          <a:lstStyle/>
          <a:p>
            <a:r>
              <a:rPr lang="ru-RU" dirty="0"/>
              <a:t>Детализация оборотов по статьям ДДС</a:t>
            </a:r>
          </a:p>
          <a:p>
            <a:r>
              <a:rPr lang="ru-RU" dirty="0"/>
              <a:t>Упрощает сценарий управления «от статьи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87" y="1413104"/>
            <a:ext cx="8555905" cy="38951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Прямоугольник 10"/>
          <p:cNvSpPr/>
          <p:nvPr/>
        </p:nvSpPr>
        <p:spPr bwMode="auto">
          <a:xfrm>
            <a:off x="1488009" y="3574514"/>
            <a:ext cx="1776608" cy="792271"/>
          </a:xfrm>
          <a:prstGeom prst="rect">
            <a:avLst/>
          </a:prstGeom>
          <a:noFill/>
          <a:ln w="2540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61" tIns="45731" rIns="91461" bIns="45731" numCol="1" rtlCol="0" anchor="ctr" anchorCtr="0" compatLnSpc="1">
            <a:prstTxWarp prst="textNoShape">
              <a:avLst/>
            </a:prstTxWarp>
          </a:bodyPr>
          <a:lstStyle/>
          <a:p>
            <a:pPr defTabSz="914583">
              <a:lnSpc>
                <a:spcPct val="110000"/>
              </a:lnSpc>
              <a:spcBef>
                <a:spcPct val="50000"/>
              </a:spcBef>
            </a:pPr>
            <a:endParaRPr lang="ru-RU" sz="2000"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5953537" y="5015007"/>
            <a:ext cx="3385790" cy="221244"/>
          </a:xfrm>
          <a:prstGeom prst="rect">
            <a:avLst/>
          </a:prstGeom>
          <a:noFill/>
          <a:ln w="2540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61" tIns="45731" rIns="91461" bIns="45731" numCol="1" rtlCol="0" anchor="ctr" anchorCtr="0" compatLnSpc="1">
            <a:prstTxWarp prst="textNoShape">
              <a:avLst/>
            </a:prstTxWarp>
          </a:bodyPr>
          <a:lstStyle/>
          <a:p>
            <a:pPr defTabSz="914583">
              <a:lnSpc>
                <a:spcPct val="110000"/>
              </a:lnSpc>
              <a:spcBef>
                <a:spcPct val="50000"/>
              </a:spcBef>
            </a:pPr>
            <a:endParaRPr lang="ru-RU" sz="20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3287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0" name="Объект 2"/>
          <p:cNvSpPr>
            <a:spLocks noGrp="1"/>
          </p:cNvSpPr>
          <p:nvPr>
            <p:ph idx="1"/>
          </p:nvPr>
        </p:nvSpPr>
        <p:spPr>
          <a:xfrm>
            <a:off x="1633091" y="2173719"/>
            <a:ext cx="8928100" cy="1800225"/>
          </a:xfrm>
        </p:spPr>
        <p:txBody>
          <a:bodyPr/>
          <a:lstStyle/>
          <a:p>
            <a:r>
              <a:rPr lang="ru-RU" altLang="ru-RU" dirty="0">
                <a:solidFill>
                  <a:srgbClr val="808080"/>
                </a:solidFill>
              </a:rPr>
              <a:t>Заплатить с другого счета</a:t>
            </a:r>
          </a:p>
          <a:p>
            <a:r>
              <a:rPr lang="ru-RU" altLang="ru-RU" dirty="0">
                <a:solidFill>
                  <a:srgbClr val="808080"/>
                </a:solidFill>
              </a:rPr>
              <a:t>Заплатить позже</a:t>
            </a:r>
          </a:p>
          <a:p>
            <a:r>
              <a:rPr lang="ru-RU" altLang="ru-RU" dirty="0">
                <a:solidFill>
                  <a:srgbClr val="808080"/>
                </a:solidFill>
              </a:rPr>
              <a:t>Разбить крупный платеж на части</a:t>
            </a:r>
          </a:p>
        </p:txBody>
      </p:sp>
      <p:sp>
        <p:nvSpPr>
          <p:cNvPr id="2970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ru-RU" altLang="ru-RU" dirty="0"/>
              <a:t>Устранение кассовых разрывов</a:t>
            </a:r>
            <a:r>
              <a:rPr lang="en-US" altLang="ru-RU" dirty="0"/>
              <a:t>:</a:t>
            </a:r>
            <a:br>
              <a:rPr lang="en-US" altLang="ru-RU" dirty="0"/>
            </a:br>
            <a:r>
              <a:rPr lang="ru-RU" altLang="ru-RU" dirty="0"/>
              <a:t>Перенос платежной позиции</a:t>
            </a:r>
          </a:p>
        </p:txBody>
      </p:sp>
      <p:sp>
        <p:nvSpPr>
          <p:cNvPr id="29705" name="24.05"/>
          <p:cNvSpPr>
            <a:spLocks noChangeArrowheads="1"/>
          </p:cNvSpPr>
          <p:nvPr/>
        </p:nvSpPr>
        <p:spPr bwMode="auto">
          <a:xfrm>
            <a:off x="3355877" y="4367351"/>
            <a:ext cx="1870075" cy="38576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24.05</a:t>
            </a:r>
          </a:p>
        </p:txBody>
      </p:sp>
      <p:sp>
        <p:nvSpPr>
          <p:cNvPr id="29707" name="25.05"/>
          <p:cNvSpPr>
            <a:spLocks noChangeArrowheads="1"/>
          </p:cNvSpPr>
          <p:nvPr/>
        </p:nvSpPr>
        <p:spPr bwMode="auto">
          <a:xfrm>
            <a:off x="6674198" y="4367351"/>
            <a:ext cx="1871663" cy="38576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25.05</a:t>
            </a:r>
          </a:p>
        </p:txBody>
      </p:sp>
      <p:sp>
        <p:nvSpPr>
          <p:cNvPr id="33" name="Проблемный платеж"/>
          <p:cNvSpPr>
            <a:spLocks noChangeArrowheads="1"/>
          </p:cNvSpPr>
          <p:nvPr/>
        </p:nvSpPr>
        <p:spPr bwMode="auto">
          <a:xfrm>
            <a:off x="3400327" y="5018772"/>
            <a:ext cx="1781175" cy="375475"/>
          </a:xfrm>
          <a:prstGeom prst="rect">
            <a:avLst/>
          </a:prstGeom>
          <a:solidFill>
            <a:srgbClr val="89D4CA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ru-RU" b="1" dirty="0">
                <a:solidFill>
                  <a:srgbClr val="808080"/>
                </a:solidFill>
              </a:rPr>
              <a:t>100 010₽ </a:t>
            </a:r>
            <a:endParaRPr lang="ru-RU" b="1" dirty="0">
              <a:solidFill>
                <a:srgbClr val="808080"/>
              </a:solidFill>
            </a:endParaRPr>
          </a:p>
        </p:txBody>
      </p:sp>
      <p:sp>
        <p:nvSpPr>
          <p:cNvPr id="38" name="Проблемный платеж (ч1)"/>
          <p:cNvSpPr>
            <a:spLocks noChangeArrowheads="1"/>
          </p:cNvSpPr>
          <p:nvPr/>
        </p:nvSpPr>
        <p:spPr bwMode="auto">
          <a:xfrm>
            <a:off x="6719441" y="5018773"/>
            <a:ext cx="1781175" cy="350837"/>
          </a:xfrm>
          <a:prstGeom prst="rect">
            <a:avLst/>
          </a:prstGeom>
          <a:solidFill>
            <a:srgbClr val="89D4CA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ru-RU" b="1" dirty="0">
                <a:solidFill>
                  <a:srgbClr val="808080"/>
                </a:solidFill>
              </a:rPr>
              <a:t>60 000 ₽ </a:t>
            </a:r>
            <a:endParaRPr lang="ru-RU" b="1" dirty="0">
              <a:solidFill>
                <a:srgbClr val="808080"/>
              </a:solidFill>
            </a:endParaRPr>
          </a:p>
        </p:txBody>
      </p:sp>
      <p:sp>
        <p:nvSpPr>
          <p:cNvPr id="39" name="Проблемный платеж (ч2)"/>
          <p:cNvSpPr>
            <a:spLocks noChangeArrowheads="1"/>
          </p:cNvSpPr>
          <p:nvPr/>
        </p:nvSpPr>
        <p:spPr bwMode="auto">
          <a:xfrm>
            <a:off x="6719440" y="5815260"/>
            <a:ext cx="1781175" cy="350838"/>
          </a:xfrm>
          <a:prstGeom prst="rect">
            <a:avLst/>
          </a:prstGeom>
          <a:solidFill>
            <a:srgbClr val="89D4CA"/>
          </a:solidFill>
          <a:ln w="1905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ru-RU" b="1" dirty="0">
                <a:solidFill>
                  <a:srgbClr val="808080"/>
                </a:solidFill>
              </a:rPr>
              <a:t>40 010 ₽ </a:t>
            </a:r>
            <a:endParaRPr lang="ru-RU" b="1" dirty="0">
              <a:solidFill>
                <a:srgbClr val="80808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19559" y="499413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808080"/>
                </a:solidFill>
              </a:rPr>
              <a:t>р/с 00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66936" y="5761225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808080"/>
                </a:solidFill>
              </a:rPr>
              <a:t>р/с 002</a:t>
            </a:r>
          </a:p>
        </p:txBody>
      </p:sp>
      <p:cxnSp>
        <p:nvCxnSpPr>
          <p:cNvPr id="4" name="Прямая со стрелкой 3"/>
          <p:cNvCxnSpPr>
            <a:stCxn id="33" idx="3"/>
            <a:endCxn id="38" idx="1"/>
          </p:cNvCxnSpPr>
          <p:nvPr/>
        </p:nvCxnSpPr>
        <p:spPr bwMode="auto">
          <a:xfrm flipV="1">
            <a:off x="5181502" y="5194190"/>
            <a:ext cx="1537939" cy="1231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 стрелкой 22"/>
          <p:cNvCxnSpPr>
            <a:stCxn id="33" idx="3"/>
            <a:endCxn id="39" idx="1"/>
          </p:cNvCxnSpPr>
          <p:nvPr/>
        </p:nvCxnSpPr>
        <p:spPr bwMode="auto">
          <a:xfrm>
            <a:off x="5181500" y="5206510"/>
            <a:ext cx="1537938" cy="784171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214239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ru-RU" altLang="ru-RU" dirty="0"/>
              <a:t>Устранение кассовых разрывов</a:t>
            </a:r>
          </a:p>
        </p:txBody>
      </p:sp>
      <p:grpSp>
        <p:nvGrpSpPr>
          <p:cNvPr id="8" name="Собственные средства"/>
          <p:cNvGrpSpPr>
            <a:grpSpLocks/>
          </p:cNvGrpSpPr>
          <p:nvPr/>
        </p:nvGrpSpPr>
        <p:grpSpPr bwMode="auto">
          <a:xfrm>
            <a:off x="1909762" y="2369145"/>
            <a:ext cx="1824038" cy="1231900"/>
            <a:chOff x="383580" y="2375301"/>
            <a:chExt cx="1824112" cy="1231391"/>
          </a:xfrm>
        </p:grpSpPr>
        <p:sp>
          <p:nvSpPr>
            <p:cNvPr id="15" name="Прямоугольник 19"/>
            <p:cNvSpPr>
              <a:spLocks noChangeArrowheads="1"/>
            </p:cNvSpPr>
            <p:nvPr/>
          </p:nvSpPr>
          <p:spPr bwMode="auto">
            <a:xfrm>
              <a:off x="899539" y="2762491"/>
              <a:ext cx="1295453" cy="385604"/>
            </a:xfrm>
            <a:prstGeom prst="rect">
              <a:avLst/>
            </a:prstGeom>
            <a:solidFill>
              <a:srgbClr val="FC6E51">
                <a:alpha val="50000"/>
              </a:srgbClr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ru-RU" altLang="ru-RU" sz="1600" b="1" dirty="0">
                  <a:solidFill>
                    <a:srgbClr val="808080"/>
                  </a:solidFill>
                </a:rPr>
                <a:t>-15 000 ₽</a:t>
              </a:r>
              <a:endParaRPr lang="ru-RU" sz="1600" b="1" dirty="0">
                <a:solidFill>
                  <a:srgbClr val="808080"/>
                </a:solidFill>
              </a:endParaRPr>
            </a:p>
          </p:txBody>
        </p:sp>
        <p:sp>
          <p:nvSpPr>
            <p:cNvPr id="16" name="Прямоугольник 19"/>
            <p:cNvSpPr>
              <a:spLocks noChangeArrowheads="1"/>
            </p:cNvSpPr>
            <p:nvPr/>
          </p:nvSpPr>
          <p:spPr bwMode="auto">
            <a:xfrm>
              <a:off x="899539" y="3219502"/>
              <a:ext cx="1295453" cy="387190"/>
            </a:xfrm>
            <a:prstGeom prst="rect">
              <a:avLst/>
            </a:prstGeom>
            <a:solidFill>
              <a:srgbClr val="89D4CA"/>
            </a:solidFill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r>
                <a:rPr lang="ru-RU" altLang="ru-RU" sz="1600" b="1" dirty="0">
                  <a:solidFill>
                    <a:srgbClr val="808080"/>
                  </a:solidFill>
                </a:rPr>
                <a:t>100 000 ₽</a:t>
              </a:r>
              <a:endParaRPr lang="ru-RU" sz="1600" b="1" dirty="0">
                <a:solidFill>
                  <a:srgbClr val="808080"/>
                </a:solidFill>
              </a:endParaRPr>
            </a:p>
          </p:txBody>
        </p:sp>
        <p:cxnSp>
          <p:nvCxnSpPr>
            <p:cNvPr id="30739" name="Скругленная соединительная линия 37"/>
            <p:cNvCxnSpPr>
              <a:cxnSpLocks noChangeShapeType="1"/>
              <a:stCxn id="16" idx="3"/>
              <a:endCxn id="15" idx="3"/>
            </p:cNvCxnSpPr>
            <p:nvPr/>
          </p:nvCxnSpPr>
          <p:spPr bwMode="auto">
            <a:xfrm flipV="1">
              <a:off x="2194992" y="2954993"/>
              <a:ext cx="12700" cy="458469"/>
            </a:xfrm>
            <a:prstGeom prst="bentConnector3">
              <a:avLst>
                <a:gd name="adj1" fmla="val 1800000"/>
              </a:avLst>
            </a:prstGeom>
            <a:noFill/>
            <a:ln w="25400" algn="ctr">
              <a:solidFill>
                <a:srgbClr val="808080"/>
              </a:solidFill>
              <a:round/>
              <a:headEnd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740" name="Прямоугольник 19"/>
            <p:cNvSpPr>
              <a:spLocks noChangeArrowheads="1"/>
            </p:cNvSpPr>
            <p:nvPr/>
          </p:nvSpPr>
          <p:spPr bwMode="auto">
            <a:xfrm>
              <a:off x="383580" y="2375301"/>
              <a:ext cx="1524124" cy="386461"/>
            </a:xfrm>
            <a:prstGeom prst="rect">
              <a:avLst/>
            </a:prstGeom>
            <a:solidFill>
              <a:srgbClr val="FFC000">
                <a:alpha val="50195"/>
              </a:srgb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Font typeface="Wingdings" pitchFamily="2" charset="2"/>
                <a:buNone/>
              </a:pPr>
              <a:r>
                <a:rPr lang="ru-RU" altLang="ru-RU" sz="1600" b="1">
                  <a:solidFill>
                    <a:srgbClr val="808080"/>
                  </a:solidFill>
                </a:rPr>
                <a:t>ООО РиК</a:t>
              </a:r>
            </a:p>
          </p:txBody>
        </p:sp>
      </p:grpSp>
      <p:grpSp>
        <p:nvGrpSpPr>
          <p:cNvPr id="9" name="Валюты"/>
          <p:cNvGrpSpPr>
            <a:grpSpLocks/>
          </p:cNvGrpSpPr>
          <p:nvPr/>
        </p:nvGrpSpPr>
        <p:grpSpPr bwMode="auto">
          <a:xfrm>
            <a:off x="4903787" y="2369145"/>
            <a:ext cx="1824038" cy="1231900"/>
            <a:chOff x="3377890" y="2375301"/>
            <a:chExt cx="1824112" cy="1231391"/>
          </a:xfrm>
        </p:grpSpPr>
        <p:sp>
          <p:nvSpPr>
            <p:cNvPr id="20" name="Прямоугольник 19"/>
            <p:cNvSpPr>
              <a:spLocks noChangeArrowheads="1"/>
            </p:cNvSpPr>
            <p:nvPr/>
          </p:nvSpPr>
          <p:spPr bwMode="auto">
            <a:xfrm>
              <a:off x="3893849" y="2762491"/>
              <a:ext cx="1295453" cy="385604"/>
            </a:xfrm>
            <a:prstGeom prst="rect">
              <a:avLst/>
            </a:prstGeom>
            <a:solidFill>
              <a:srgbClr val="FC6E51">
                <a:alpha val="50000"/>
              </a:srgbClr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r>
                <a:rPr lang="ru-RU" altLang="ru-RU" sz="1600" b="1" dirty="0">
                  <a:solidFill>
                    <a:srgbClr val="808080"/>
                  </a:solidFill>
                </a:rPr>
                <a:t>-15 000 ₽</a:t>
              </a:r>
              <a:endParaRPr lang="ru-RU" sz="1600" b="1" dirty="0">
                <a:solidFill>
                  <a:srgbClr val="808080"/>
                </a:solidFill>
              </a:endParaRPr>
            </a:p>
          </p:txBody>
        </p:sp>
        <p:sp>
          <p:nvSpPr>
            <p:cNvPr id="21" name="Прямоугольник 19"/>
            <p:cNvSpPr>
              <a:spLocks noChangeArrowheads="1"/>
            </p:cNvSpPr>
            <p:nvPr/>
          </p:nvSpPr>
          <p:spPr bwMode="auto">
            <a:xfrm>
              <a:off x="3893849" y="3219502"/>
              <a:ext cx="1295453" cy="387190"/>
            </a:xfrm>
            <a:prstGeom prst="rect">
              <a:avLst/>
            </a:prstGeom>
            <a:solidFill>
              <a:srgbClr val="89D4CA"/>
            </a:solidFill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1600" b="1" dirty="0">
                  <a:solidFill>
                    <a:srgbClr val="808080"/>
                  </a:solidFill>
                </a:rPr>
                <a:t>10 000 </a:t>
              </a:r>
              <a:r>
                <a:rPr lang="en-US" altLang="ru-RU" sz="1600" b="1" dirty="0">
                  <a:solidFill>
                    <a:srgbClr val="808080"/>
                  </a:solidFill>
                </a:rPr>
                <a:t>$</a:t>
              </a:r>
              <a:endParaRPr lang="ru-RU" sz="1600" b="1" dirty="0">
                <a:solidFill>
                  <a:srgbClr val="808080"/>
                </a:solidFill>
              </a:endParaRPr>
            </a:p>
          </p:txBody>
        </p:sp>
        <p:cxnSp>
          <p:nvCxnSpPr>
            <p:cNvPr id="30735" name="Скругленная соединительная линия 37"/>
            <p:cNvCxnSpPr>
              <a:cxnSpLocks noChangeShapeType="1"/>
              <a:stCxn id="21" idx="3"/>
              <a:endCxn id="20" idx="3"/>
            </p:cNvCxnSpPr>
            <p:nvPr/>
          </p:nvCxnSpPr>
          <p:spPr bwMode="auto">
            <a:xfrm flipV="1">
              <a:off x="5189302" y="2954993"/>
              <a:ext cx="12700" cy="458469"/>
            </a:xfrm>
            <a:prstGeom prst="bentConnector3">
              <a:avLst>
                <a:gd name="adj1" fmla="val 1800000"/>
              </a:avLst>
            </a:prstGeom>
            <a:noFill/>
            <a:ln w="25400" algn="ctr">
              <a:solidFill>
                <a:srgbClr val="808080"/>
              </a:solidFill>
              <a:round/>
              <a:headEnd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736" name="Прямоугольник 19"/>
            <p:cNvSpPr>
              <a:spLocks noChangeArrowheads="1"/>
            </p:cNvSpPr>
            <p:nvPr/>
          </p:nvSpPr>
          <p:spPr bwMode="auto">
            <a:xfrm>
              <a:off x="3377890" y="2375301"/>
              <a:ext cx="1524124" cy="386461"/>
            </a:xfrm>
            <a:prstGeom prst="rect">
              <a:avLst/>
            </a:prstGeom>
            <a:solidFill>
              <a:srgbClr val="FFC000">
                <a:alpha val="50195"/>
              </a:srgb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Font typeface="Wingdings" pitchFamily="2" charset="2"/>
                <a:buNone/>
              </a:pPr>
              <a:r>
                <a:rPr lang="ru-RU" altLang="ru-RU" sz="1600" b="1">
                  <a:solidFill>
                    <a:srgbClr val="808080"/>
                  </a:solidFill>
                </a:rPr>
                <a:t>ООО РиК</a:t>
              </a:r>
            </a:p>
          </p:txBody>
        </p:sp>
      </p:grpSp>
      <p:grpSp>
        <p:nvGrpSpPr>
          <p:cNvPr id="10" name="Внутригрупповое перемещение"/>
          <p:cNvGrpSpPr>
            <a:grpSpLocks/>
          </p:cNvGrpSpPr>
          <p:nvPr/>
        </p:nvGrpSpPr>
        <p:grpSpPr bwMode="auto">
          <a:xfrm>
            <a:off x="7897812" y="2369147"/>
            <a:ext cx="1824038" cy="1636713"/>
            <a:chOff x="6372200" y="2375301"/>
            <a:chExt cx="1824112" cy="1637018"/>
          </a:xfrm>
        </p:grpSpPr>
        <p:sp>
          <p:nvSpPr>
            <p:cNvPr id="30" name="Прямоугольник 19"/>
            <p:cNvSpPr>
              <a:spLocks noChangeArrowheads="1"/>
            </p:cNvSpPr>
            <p:nvPr/>
          </p:nvSpPr>
          <p:spPr bwMode="auto">
            <a:xfrm>
              <a:off x="6888159" y="2761136"/>
              <a:ext cx="1295453" cy="387422"/>
            </a:xfrm>
            <a:prstGeom prst="rect">
              <a:avLst/>
            </a:prstGeom>
            <a:solidFill>
              <a:srgbClr val="FC6E51">
                <a:alpha val="50000"/>
              </a:srgbClr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/>
              <a:r>
                <a:rPr lang="ru-RU" altLang="ru-RU" sz="1600" b="1" dirty="0">
                  <a:solidFill>
                    <a:srgbClr val="808080"/>
                  </a:solidFill>
                </a:rPr>
                <a:t>-15 000 ₽</a:t>
              </a:r>
              <a:endParaRPr lang="ru-RU" sz="1600" b="1" dirty="0">
                <a:solidFill>
                  <a:srgbClr val="808080"/>
                </a:solidFill>
              </a:endParaRPr>
            </a:p>
          </p:txBody>
        </p:sp>
        <p:sp>
          <p:nvSpPr>
            <p:cNvPr id="31" name="Прямоугольник 19"/>
            <p:cNvSpPr>
              <a:spLocks noChangeArrowheads="1"/>
            </p:cNvSpPr>
            <p:nvPr/>
          </p:nvSpPr>
          <p:spPr bwMode="auto">
            <a:xfrm>
              <a:off x="6888159" y="3626484"/>
              <a:ext cx="1295453" cy="385835"/>
            </a:xfrm>
            <a:prstGeom prst="rect">
              <a:avLst/>
            </a:prstGeom>
            <a:solidFill>
              <a:srgbClr val="89D4CA"/>
            </a:solidFill>
            <a:ln w="12700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1600" b="1" dirty="0">
                  <a:solidFill>
                    <a:srgbClr val="808080"/>
                  </a:solidFill>
                </a:rPr>
                <a:t>100 000 ₽</a:t>
              </a:r>
              <a:endParaRPr lang="ru-RU" sz="1600" b="1" dirty="0">
                <a:solidFill>
                  <a:srgbClr val="808080"/>
                </a:solidFill>
              </a:endParaRPr>
            </a:p>
          </p:txBody>
        </p:sp>
        <p:cxnSp>
          <p:nvCxnSpPr>
            <p:cNvPr id="30730" name="Скругленная соединительная линия 53"/>
            <p:cNvCxnSpPr>
              <a:cxnSpLocks noChangeShapeType="1"/>
              <a:stCxn id="31" idx="3"/>
              <a:endCxn id="30" idx="3"/>
            </p:cNvCxnSpPr>
            <p:nvPr/>
          </p:nvCxnSpPr>
          <p:spPr bwMode="auto">
            <a:xfrm flipV="1">
              <a:off x="8183612" y="2954993"/>
              <a:ext cx="12700" cy="864096"/>
            </a:xfrm>
            <a:prstGeom prst="bentConnector3">
              <a:avLst>
                <a:gd name="adj1" fmla="val 1800000"/>
              </a:avLst>
            </a:prstGeom>
            <a:noFill/>
            <a:ln w="25400" algn="ctr">
              <a:solidFill>
                <a:srgbClr val="808080"/>
              </a:solidFill>
              <a:round/>
              <a:headEnd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5" name="Прямоугольник 19"/>
            <p:cNvSpPr>
              <a:spLocks noChangeArrowheads="1"/>
            </p:cNvSpPr>
            <p:nvPr/>
          </p:nvSpPr>
          <p:spPr bwMode="auto">
            <a:xfrm>
              <a:off x="6372200" y="2375301"/>
              <a:ext cx="1524062" cy="385835"/>
            </a:xfrm>
            <a:prstGeom prst="rect">
              <a:avLst/>
            </a:prstGeom>
            <a:solidFill>
              <a:srgbClr val="FFC000">
                <a:alpha val="50195"/>
              </a:srgb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buFont typeface="Wingdings" pitchFamily="2" charset="2"/>
                <a:buNone/>
              </a:pPr>
              <a:r>
                <a:rPr lang="ru-RU" altLang="ru-RU" sz="1600" b="1" dirty="0">
                  <a:solidFill>
                    <a:srgbClr val="808080"/>
                  </a:solidFill>
                  <a:latin typeface="Arial" charset="0"/>
                </a:rPr>
                <a:t>ООО </a:t>
              </a:r>
              <a:r>
                <a:rPr lang="ru-RU" altLang="ru-RU" sz="1600" b="1" dirty="0" err="1">
                  <a:solidFill>
                    <a:srgbClr val="808080"/>
                  </a:solidFill>
                  <a:latin typeface="Arial" charset="0"/>
                </a:rPr>
                <a:t>РиК</a:t>
              </a:r>
              <a:endParaRPr lang="ru-RU" sz="1600" b="1" dirty="0">
                <a:solidFill>
                  <a:srgbClr val="808080"/>
                </a:solidFill>
                <a:latin typeface="Arial" charset="0"/>
              </a:endParaRPr>
            </a:p>
          </p:txBody>
        </p:sp>
        <p:sp>
          <p:nvSpPr>
            <p:cNvPr id="30732" name="Прямоугольник 19"/>
            <p:cNvSpPr>
              <a:spLocks noChangeArrowheads="1"/>
            </p:cNvSpPr>
            <p:nvPr/>
          </p:nvSpPr>
          <p:spPr bwMode="auto">
            <a:xfrm>
              <a:off x="6372200" y="3220231"/>
              <a:ext cx="1524124" cy="386461"/>
            </a:xfrm>
            <a:prstGeom prst="rect">
              <a:avLst/>
            </a:prstGeom>
            <a:solidFill>
              <a:srgbClr val="FFC000">
                <a:alpha val="50195"/>
              </a:srgbClr>
            </a:solidFill>
            <a:ln w="19050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</a:pPr>
              <a:r>
                <a:rPr lang="ru-RU" altLang="ru-RU" sz="1600" b="1">
                  <a:solidFill>
                    <a:srgbClr val="808080"/>
                  </a:solidFill>
                </a:rPr>
                <a:t>ООО Вектор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500541" y="1698238"/>
            <a:ext cx="2872610" cy="71487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600" b="1" dirty="0">
                <a:solidFill>
                  <a:srgbClr val="808080"/>
                </a:solidFill>
              </a:rPr>
              <a:t>Перевод собственных средств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31120" y="1650012"/>
            <a:ext cx="2872610" cy="7133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600" b="1" dirty="0">
                <a:solidFill>
                  <a:srgbClr val="808080"/>
                </a:solidFill>
              </a:rPr>
              <a:t>Конвертация валюты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223507" y="1640113"/>
            <a:ext cx="2872610" cy="7133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600" b="1" dirty="0">
                <a:solidFill>
                  <a:srgbClr val="808080"/>
                </a:solidFill>
              </a:rPr>
              <a:t>Внутригрупповой перевод</a:t>
            </a:r>
          </a:p>
        </p:txBody>
      </p:sp>
      <p:sp>
        <p:nvSpPr>
          <p:cNvPr id="24" name="24.05"/>
          <p:cNvSpPr>
            <a:spLocks noChangeArrowheads="1"/>
          </p:cNvSpPr>
          <p:nvPr/>
        </p:nvSpPr>
        <p:spPr bwMode="auto">
          <a:xfrm>
            <a:off x="3615945" y="4557788"/>
            <a:ext cx="1152525" cy="35353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>
                <a:solidFill>
                  <a:srgbClr val="808080"/>
                </a:solidFill>
              </a:rPr>
              <a:t>Срок</a:t>
            </a:r>
          </a:p>
        </p:txBody>
      </p:sp>
      <p:sp>
        <p:nvSpPr>
          <p:cNvPr id="25" name="24.05"/>
          <p:cNvSpPr>
            <a:spLocks noChangeArrowheads="1"/>
          </p:cNvSpPr>
          <p:nvPr/>
        </p:nvSpPr>
        <p:spPr bwMode="auto">
          <a:xfrm>
            <a:off x="4982782" y="4537151"/>
            <a:ext cx="1152525" cy="354993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>
                <a:solidFill>
                  <a:srgbClr val="808080"/>
                </a:solidFill>
              </a:rPr>
              <a:t>Сумма</a:t>
            </a:r>
          </a:p>
        </p:txBody>
      </p:sp>
      <p:sp>
        <p:nvSpPr>
          <p:cNvPr id="26" name="24.05"/>
          <p:cNvSpPr>
            <a:spLocks noChangeArrowheads="1"/>
          </p:cNvSpPr>
          <p:nvPr/>
        </p:nvSpPr>
        <p:spPr bwMode="auto">
          <a:xfrm>
            <a:off x="6351207" y="4554612"/>
            <a:ext cx="1152525" cy="35499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>
                <a:solidFill>
                  <a:srgbClr val="808080"/>
                </a:solidFill>
              </a:rPr>
              <a:t>Валюта</a:t>
            </a:r>
          </a:p>
        </p:txBody>
      </p:sp>
      <p:sp>
        <p:nvSpPr>
          <p:cNvPr id="27" name="24.05"/>
          <p:cNvSpPr>
            <a:spLocks noChangeArrowheads="1"/>
          </p:cNvSpPr>
          <p:nvPr/>
        </p:nvSpPr>
        <p:spPr bwMode="auto">
          <a:xfrm>
            <a:off x="3615943" y="5705225"/>
            <a:ext cx="1871662" cy="35353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Банк 2</a:t>
            </a:r>
          </a:p>
        </p:txBody>
      </p:sp>
      <p:sp>
        <p:nvSpPr>
          <p:cNvPr id="28" name="24.05"/>
          <p:cNvSpPr>
            <a:spLocks noChangeArrowheads="1"/>
          </p:cNvSpPr>
          <p:nvPr/>
        </p:nvSpPr>
        <p:spPr bwMode="auto">
          <a:xfrm>
            <a:off x="3615943" y="5165537"/>
            <a:ext cx="1871662" cy="353532"/>
          </a:xfrm>
          <a:prstGeom prst="rect">
            <a:avLst/>
          </a:prstGeom>
          <a:solidFill>
            <a:srgbClr val="B2B2B2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defRPr/>
            </a:pPr>
            <a:r>
              <a:rPr lang="ru-RU" sz="1800" b="1" dirty="0">
                <a:solidFill>
                  <a:srgbClr val="808080"/>
                </a:solidFill>
              </a:rPr>
              <a:t>Банк 1</a:t>
            </a:r>
          </a:p>
        </p:txBody>
      </p:sp>
      <p:sp>
        <p:nvSpPr>
          <p:cNvPr id="29" name="24.05"/>
          <p:cNvSpPr>
            <a:spLocks noChangeArrowheads="1"/>
          </p:cNvSpPr>
          <p:nvPr/>
        </p:nvSpPr>
        <p:spPr bwMode="auto">
          <a:xfrm>
            <a:off x="5635243" y="5705225"/>
            <a:ext cx="1871662" cy="35353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10% год.</a:t>
            </a:r>
          </a:p>
        </p:txBody>
      </p:sp>
      <p:sp>
        <p:nvSpPr>
          <p:cNvPr id="32" name="24.05"/>
          <p:cNvSpPr>
            <a:spLocks noChangeArrowheads="1"/>
          </p:cNvSpPr>
          <p:nvPr/>
        </p:nvSpPr>
        <p:spPr bwMode="auto">
          <a:xfrm>
            <a:off x="5632068" y="5165537"/>
            <a:ext cx="1871662" cy="353532"/>
          </a:xfrm>
          <a:prstGeom prst="rect">
            <a:avLst/>
          </a:prstGeom>
          <a:solidFill>
            <a:srgbClr val="B2B2B2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defRPr/>
            </a:pPr>
            <a:r>
              <a:rPr lang="ru-RU" sz="1800" b="1" dirty="0">
                <a:solidFill>
                  <a:srgbClr val="808080"/>
                </a:solidFill>
              </a:rPr>
              <a:t>9% год.</a:t>
            </a:r>
          </a:p>
        </p:txBody>
      </p:sp>
      <p:sp>
        <p:nvSpPr>
          <p:cNvPr id="33" name="24.05"/>
          <p:cNvSpPr>
            <a:spLocks noChangeArrowheads="1"/>
          </p:cNvSpPr>
          <p:nvPr/>
        </p:nvSpPr>
        <p:spPr bwMode="auto">
          <a:xfrm>
            <a:off x="3615943" y="6244913"/>
            <a:ext cx="1871662" cy="35353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Банк 3</a:t>
            </a:r>
          </a:p>
        </p:txBody>
      </p:sp>
      <p:sp>
        <p:nvSpPr>
          <p:cNvPr id="34" name="24.05"/>
          <p:cNvSpPr>
            <a:spLocks noChangeArrowheads="1"/>
          </p:cNvSpPr>
          <p:nvPr/>
        </p:nvSpPr>
        <p:spPr bwMode="auto">
          <a:xfrm>
            <a:off x="5632068" y="6244913"/>
            <a:ext cx="1871662" cy="35353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15% год.</a:t>
            </a:r>
          </a:p>
        </p:txBody>
      </p:sp>
      <p:cxnSp>
        <p:nvCxnSpPr>
          <p:cNvPr id="36" name="Прямая со стрелкой 77"/>
          <p:cNvCxnSpPr>
            <a:cxnSpLocks noChangeShapeType="1"/>
            <a:stCxn id="24" idx="2"/>
          </p:cNvCxnSpPr>
          <p:nvPr/>
        </p:nvCxnSpPr>
        <p:spPr bwMode="auto">
          <a:xfrm>
            <a:off x="4192206" y="4911320"/>
            <a:ext cx="0" cy="254216"/>
          </a:xfrm>
          <a:prstGeom prst="straightConnector1">
            <a:avLst/>
          </a:prstGeom>
          <a:noFill/>
          <a:ln w="19050" algn="ctr">
            <a:solidFill>
              <a:srgbClr val="808080"/>
            </a:solidFill>
            <a:round/>
            <a:headEnd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 стрелкой 81"/>
          <p:cNvCxnSpPr>
            <a:cxnSpLocks noChangeShapeType="1"/>
            <a:stCxn id="25" idx="2"/>
          </p:cNvCxnSpPr>
          <p:nvPr/>
        </p:nvCxnSpPr>
        <p:spPr bwMode="auto">
          <a:xfrm>
            <a:off x="5559043" y="4892142"/>
            <a:ext cx="0" cy="273394"/>
          </a:xfrm>
          <a:prstGeom prst="straightConnector1">
            <a:avLst/>
          </a:prstGeom>
          <a:noFill/>
          <a:ln w="19050" algn="ctr">
            <a:solidFill>
              <a:srgbClr val="808080"/>
            </a:solidFill>
            <a:round/>
            <a:headEnd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 стрелкой 84"/>
          <p:cNvCxnSpPr>
            <a:cxnSpLocks noChangeShapeType="1"/>
            <a:stCxn id="26" idx="2"/>
          </p:cNvCxnSpPr>
          <p:nvPr/>
        </p:nvCxnSpPr>
        <p:spPr bwMode="auto">
          <a:xfrm>
            <a:off x="6927468" y="4909604"/>
            <a:ext cx="0" cy="255932"/>
          </a:xfrm>
          <a:prstGeom prst="straightConnector1">
            <a:avLst/>
          </a:prstGeom>
          <a:noFill/>
          <a:ln w="19050" algn="ctr">
            <a:solidFill>
              <a:srgbClr val="808080"/>
            </a:solidFill>
            <a:round/>
            <a:headEnd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Freeform 67"/>
          <p:cNvSpPr>
            <a:spLocks noChangeAspect="1"/>
          </p:cNvSpPr>
          <p:nvPr/>
        </p:nvSpPr>
        <p:spPr bwMode="auto">
          <a:xfrm>
            <a:off x="7222745" y="5477705"/>
            <a:ext cx="566737" cy="646113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2C973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954715" y="4003475"/>
            <a:ext cx="3422206" cy="71332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ru-RU" sz="1600" b="1" dirty="0">
                <a:solidFill>
                  <a:srgbClr val="808080"/>
                </a:solidFill>
              </a:rPr>
              <a:t>Привлечение финансировани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477042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ru-RU" altLang="ru-RU" dirty="0"/>
              <a:t>Размещение свободных остатк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17873" y="2359956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808080"/>
                </a:solidFill>
              </a:rPr>
              <a:t>р/с 001</a:t>
            </a:r>
          </a:p>
        </p:txBody>
      </p:sp>
      <p:sp>
        <p:nvSpPr>
          <p:cNvPr id="21" name="24.05"/>
          <p:cNvSpPr>
            <a:spLocks noChangeArrowheads="1"/>
          </p:cNvSpPr>
          <p:nvPr/>
        </p:nvSpPr>
        <p:spPr bwMode="auto">
          <a:xfrm>
            <a:off x="3355878" y="1862666"/>
            <a:ext cx="1507751" cy="38576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24.05</a:t>
            </a:r>
          </a:p>
        </p:txBody>
      </p:sp>
      <p:sp>
        <p:nvSpPr>
          <p:cNvPr id="22" name="25.05"/>
          <p:cNvSpPr>
            <a:spLocks noChangeArrowheads="1"/>
          </p:cNvSpPr>
          <p:nvPr/>
        </p:nvSpPr>
        <p:spPr bwMode="auto">
          <a:xfrm>
            <a:off x="5017467" y="1845618"/>
            <a:ext cx="1528390" cy="38576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25.05</a:t>
            </a:r>
          </a:p>
        </p:txBody>
      </p:sp>
      <p:sp>
        <p:nvSpPr>
          <p:cNvPr id="24" name="25.05"/>
          <p:cNvSpPr>
            <a:spLocks noChangeArrowheads="1"/>
          </p:cNvSpPr>
          <p:nvPr/>
        </p:nvSpPr>
        <p:spPr bwMode="auto">
          <a:xfrm>
            <a:off x="7089477" y="1845618"/>
            <a:ext cx="1528390" cy="385762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</a:pPr>
            <a:r>
              <a:rPr lang="ru-RU" altLang="ru-RU" sz="1800" b="1" dirty="0">
                <a:solidFill>
                  <a:srgbClr val="808080"/>
                </a:solidFill>
              </a:rPr>
              <a:t>31.05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619939" y="2038942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808080"/>
                </a:solidFill>
              </a:rPr>
              <a:t>…</a:t>
            </a:r>
          </a:p>
        </p:txBody>
      </p:sp>
      <p:sp>
        <p:nvSpPr>
          <p:cNvPr id="42" name="Начальный остаток 0"/>
          <p:cNvSpPr>
            <a:spLocks noChangeArrowheads="1"/>
          </p:cNvSpPr>
          <p:nvPr/>
        </p:nvSpPr>
        <p:spPr bwMode="auto">
          <a:xfrm>
            <a:off x="5017468" y="2382058"/>
            <a:ext cx="1528391" cy="367128"/>
          </a:xfrm>
          <a:prstGeom prst="rect">
            <a:avLst/>
          </a:prstGeom>
          <a:solidFill>
            <a:schemeClr val="accent4">
              <a:lumMod val="50000"/>
              <a:lumOff val="50000"/>
              <a:alpha val="50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/>
            <a:r>
              <a:rPr lang="ru-RU" altLang="ru-RU" sz="1600" b="1" dirty="0">
                <a:solidFill>
                  <a:srgbClr val="808080"/>
                </a:solidFill>
              </a:rPr>
              <a:t>0 ₽</a:t>
            </a:r>
            <a:endParaRPr lang="ru-RU" sz="1600" b="1" dirty="0">
              <a:solidFill>
                <a:srgbClr val="808080"/>
              </a:solidFill>
            </a:endParaRPr>
          </a:p>
        </p:txBody>
      </p:sp>
      <p:sp>
        <p:nvSpPr>
          <p:cNvPr id="43" name="Конечный остаток млн"/>
          <p:cNvSpPr>
            <a:spLocks noChangeArrowheads="1"/>
          </p:cNvSpPr>
          <p:nvPr/>
        </p:nvSpPr>
        <p:spPr bwMode="auto">
          <a:xfrm>
            <a:off x="7089477" y="2382057"/>
            <a:ext cx="1528390" cy="345028"/>
          </a:xfrm>
          <a:prstGeom prst="rect">
            <a:avLst/>
          </a:prstGeom>
          <a:solidFill>
            <a:srgbClr val="89D4CA"/>
          </a:solidFill>
          <a:ln w="19050" algn="ctr">
            <a:noFill/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ru-RU" altLang="ru-RU" b="1" dirty="0">
                <a:solidFill>
                  <a:srgbClr val="808080"/>
                </a:solidFill>
              </a:rPr>
              <a:t>1 009 000 ₽</a:t>
            </a:r>
            <a:endParaRPr lang="ru-RU" b="1" dirty="0">
              <a:solidFill>
                <a:srgbClr val="808080"/>
              </a:solidFill>
            </a:endParaRPr>
          </a:p>
        </p:txBody>
      </p:sp>
      <p:sp>
        <p:nvSpPr>
          <p:cNvPr id="46" name="Freeform 99"/>
          <p:cNvSpPr>
            <a:spLocks noChangeAspect="1" noEditPoints="1"/>
          </p:cNvSpPr>
          <p:nvPr/>
        </p:nvSpPr>
        <p:spPr bwMode="auto">
          <a:xfrm>
            <a:off x="5017469" y="4186589"/>
            <a:ext cx="1602471" cy="1582831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 bwMode="auto">
          <a:xfrm>
            <a:off x="4176845" y="2928496"/>
            <a:ext cx="912630" cy="1437402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 стрелкой 10"/>
          <p:cNvCxnSpPr/>
          <p:nvPr/>
        </p:nvCxnSpPr>
        <p:spPr bwMode="auto">
          <a:xfrm flipV="1">
            <a:off x="6619939" y="2928496"/>
            <a:ext cx="1155974" cy="1258092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5400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 rot="3430584">
            <a:off x="3789193" y="3488364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808080"/>
                </a:solidFill>
              </a:rPr>
              <a:t>1 000 000 </a:t>
            </a:r>
            <a:r>
              <a:rPr lang="ru-RU" altLang="ru-RU" sz="1600" b="1" dirty="0">
                <a:solidFill>
                  <a:srgbClr val="808080"/>
                </a:solidFill>
              </a:rPr>
              <a:t>₽</a:t>
            </a:r>
            <a:endParaRPr lang="ru-RU" sz="1600" b="1" dirty="0">
              <a:solidFill>
                <a:srgbClr val="80808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 rot="18665229">
            <a:off x="6295823" y="3417684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808080"/>
                </a:solidFill>
              </a:rPr>
              <a:t>1 000 000 </a:t>
            </a:r>
            <a:r>
              <a:rPr lang="ru-RU" altLang="ru-RU" sz="1600" b="1" dirty="0">
                <a:solidFill>
                  <a:srgbClr val="808080"/>
                </a:solidFill>
              </a:rPr>
              <a:t>₽</a:t>
            </a:r>
            <a:endParaRPr lang="ru-RU" sz="1600" b="1" dirty="0">
              <a:solidFill>
                <a:srgbClr val="80808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 rot="18665229">
            <a:off x="6728911" y="3587338"/>
            <a:ext cx="11095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808080"/>
                </a:solidFill>
              </a:rPr>
              <a:t>% 9 000 </a:t>
            </a:r>
            <a:r>
              <a:rPr lang="ru-RU" altLang="ru-RU" sz="1600" b="1" dirty="0">
                <a:solidFill>
                  <a:srgbClr val="808080"/>
                </a:solidFill>
              </a:rPr>
              <a:t>₽</a:t>
            </a:r>
            <a:endParaRPr lang="ru-RU" sz="1600" b="1" dirty="0">
              <a:solidFill>
                <a:srgbClr val="808080"/>
              </a:solidFill>
            </a:endParaRPr>
          </a:p>
        </p:txBody>
      </p:sp>
      <p:sp>
        <p:nvSpPr>
          <p:cNvPr id="18" name="Конечный остаток млн"/>
          <p:cNvSpPr>
            <a:spLocks noChangeArrowheads="1"/>
          </p:cNvSpPr>
          <p:nvPr/>
        </p:nvSpPr>
        <p:spPr bwMode="auto">
          <a:xfrm>
            <a:off x="3345557" y="2408907"/>
            <a:ext cx="1528390" cy="345028"/>
          </a:xfrm>
          <a:prstGeom prst="rect">
            <a:avLst/>
          </a:prstGeom>
          <a:solidFill>
            <a:srgbClr val="89D4CA"/>
          </a:solidFill>
          <a:ln w="19050" algn="ctr">
            <a:noFill/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ru-RU" altLang="ru-RU" b="1" dirty="0">
                <a:solidFill>
                  <a:srgbClr val="808080"/>
                </a:solidFill>
              </a:rPr>
              <a:t>1 000 000 ₽</a:t>
            </a:r>
            <a:endParaRPr lang="ru-RU" b="1" dirty="0">
              <a:solidFill>
                <a:srgbClr val="80808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935618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027" y="1264020"/>
            <a:ext cx="9800317" cy="55232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птимизатор платежного календаря:</a:t>
            </a:r>
            <a:r>
              <a:rPr lang="en-US"/>
              <a:t> </a:t>
            </a:r>
            <a:r>
              <a:rPr lang="ru-RU"/>
              <a:t>«волшебная кнопка»</a:t>
            </a:r>
            <a:endParaRPr lang="ru-RU" dirty="0"/>
          </a:p>
        </p:txBody>
      </p:sp>
      <p:sp>
        <p:nvSpPr>
          <p:cNvPr id="9" name="Скругленная прямоугольная выноска 8"/>
          <p:cNvSpPr/>
          <p:nvPr/>
        </p:nvSpPr>
        <p:spPr>
          <a:xfrm rot="10800000" flipH="1">
            <a:off x="2281163" y="2205656"/>
            <a:ext cx="3240360" cy="1296145"/>
          </a:xfrm>
          <a:prstGeom prst="wedgeRoundRectCallout">
            <a:avLst>
              <a:gd name="adj1" fmla="val -22018"/>
              <a:gd name="adj2" fmla="val 97067"/>
              <a:gd name="adj3" fmla="val 16667"/>
            </a:avLst>
          </a:prstGeom>
          <a:solidFill>
            <a:srgbClr val="FBEAA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663" y="2329868"/>
            <a:ext cx="3053358" cy="1047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029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тимизатор платежного календаря:</a:t>
            </a:r>
            <a:r>
              <a:rPr lang="en-US" dirty="0"/>
              <a:t> </a:t>
            </a:r>
            <a:r>
              <a:rPr lang="ru-RU" dirty="0"/>
              <a:t>гибкие настрой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1124" y="1109471"/>
            <a:ext cx="8391525" cy="57245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7453" y="2349674"/>
            <a:ext cx="5218865" cy="35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51102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тимизатор платежного календаря:</a:t>
            </a:r>
            <a:r>
              <a:rPr lang="en-US" dirty="0"/>
              <a:t> </a:t>
            </a:r>
            <a:r>
              <a:rPr lang="ru-RU" dirty="0"/>
              <a:t>гибкие настрой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1124" y="1109471"/>
            <a:ext cx="8391525" cy="57245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7453" y="2349674"/>
            <a:ext cx="5218865" cy="35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71906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1CD2DAE-8458-4F1C-A9B4-EB5D2D3C3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делирование остановки платежей</a:t>
            </a:r>
          </a:p>
        </p:txBody>
      </p:sp>
      <p:pic>
        <p:nvPicPr>
          <p:cNvPr id="8" name="Объект 7" descr="Изображение выглядит как снимок экрана, компьютер, стол, группа&#10;&#10;Автоматически созданное описание">
            <a:extLst>
              <a:ext uri="{FF2B5EF4-FFF2-40B4-BE49-F238E27FC236}">
                <a16:creationId xmlns:a16="http://schemas.microsoft.com/office/drawing/2014/main" id="{C3576645-8953-42A0-BE1D-7B943F3890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77" y="1179102"/>
            <a:ext cx="11786219" cy="5635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EEF739D-CBD6-4FC3-B2A1-7A995AB450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7147" y="1413570"/>
            <a:ext cx="2070370" cy="920958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6D3DAD1-7375-428F-A937-86F9DA5CC0B5}"/>
              </a:ext>
            </a:extLst>
          </p:cNvPr>
          <p:cNvSpPr/>
          <p:nvPr/>
        </p:nvSpPr>
        <p:spPr>
          <a:xfrm>
            <a:off x="2137147" y="2061642"/>
            <a:ext cx="2070370" cy="272886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D5A6D14D-0408-4B44-8841-055344DCC173}"/>
              </a:ext>
            </a:extLst>
          </p:cNvPr>
          <p:cNvCxnSpPr/>
          <p:nvPr/>
        </p:nvCxnSpPr>
        <p:spPr>
          <a:xfrm>
            <a:off x="2569195" y="2334528"/>
            <a:ext cx="720080" cy="648072"/>
          </a:xfrm>
          <a:prstGeom prst="straightConnector1">
            <a:avLst/>
          </a:prstGeom>
          <a:ln w="38100">
            <a:solidFill>
              <a:srgbClr val="FC6E5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36C0C67-ED98-4501-8C19-B005347D2E59}"/>
              </a:ext>
            </a:extLst>
          </p:cNvPr>
          <p:cNvSpPr txBox="1"/>
          <p:nvPr/>
        </p:nvSpPr>
        <p:spPr>
          <a:xfrm>
            <a:off x="552971" y="5806058"/>
            <a:ext cx="4421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FC6E51"/>
                </a:solidFill>
              </a:rPr>
              <a:t>Моделирование «крупными штрихами»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E27EFF1-2C3A-4525-8F71-F2F2E99F89FC}"/>
              </a:ext>
            </a:extLst>
          </p:cNvPr>
          <p:cNvSpPr/>
          <p:nvPr/>
        </p:nvSpPr>
        <p:spPr>
          <a:xfrm>
            <a:off x="693174" y="4297450"/>
            <a:ext cx="2070370" cy="1383036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F55F91-D457-4773-A6B5-77DA8DDD192C}"/>
              </a:ext>
            </a:extLst>
          </p:cNvPr>
          <p:cNvSpPr txBox="1"/>
          <p:nvPr/>
        </p:nvSpPr>
        <p:spPr>
          <a:xfrm>
            <a:off x="2728104" y="5829904"/>
            <a:ext cx="4387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FC6E51"/>
                </a:solidFill>
              </a:rPr>
              <a:t>Вывод сопроводительной информаци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7725EEEE-18B6-4007-86BD-1C2A20425F71}"/>
              </a:ext>
            </a:extLst>
          </p:cNvPr>
          <p:cNvSpPr/>
          <p:nvPr/>
        </p:nvSpPr>
        <p:spPr>
          <a:xfrm>
            <a:off x="2868307" y="4321296"/>
            <a:ext cx="5821568" cy="1383036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10FEA1-02A3-45F9-B4C9-C8BF97963AC2}"/>
              </a:ext>
            </a:extLst>
          </p:cNvPr>
          <p:cNvSpPr txBox="1"/>
          <p:nvPr/>
        </p:nvSpPr>
        <p:spPr>
          <a:xfrm>
            <a:off x="6902040" y="5806058"/>
            <a:ext cx="5130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C6E51"/>
                </a:solidFill>
              </a:rPr>
              <a:t>Отложить совсем или перенести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4F59305-6217-4EDA-9218-128457E6FD40}"/>
              </a:ext>
            </a:extLst>
          </p:cNvPr>
          <p:cNvSpPr/>
          <p:nvPr/>
        </p:nvSpPr>
        <p:spPr>
          <a:xfrm>
            <a:off x="8951359" y="4077866"/>
            <a:ext cx="2402346" cy="1626466"/>
          </a:xfrm>
          <a:prstGeom prst="rect">
            <a:avLst/>
          </a:prstGeom>
          <a:noFill/>
          <a:ln w="38100">
            <a:solidFill>
              <a:srgbClr val="FC6E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0201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/>
      <p:bldP spid="17" grpId="0" animBg="1"/>
      <p:bldP spid="20" grpId="0"/>
      <p:bldP spid="21" grpId="0" animBg="1"/>
      <p:bldP spid="22" grpId="0"/>
      <p:bldP spid="2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Ð¡ÑÐ¾ÑÐ¾Ð½Ñ, Ð ÑÐºÐ¸, ÐÐ¾Ð¶Ð°ÑÐ¸Ðµ Ð ÑÐºÐ¸, Ð ÑÐºÐ° Ð§ÐµÐ»Ð¾Ð²ÐµÐºÐ°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5" y="2637706"/>
            <a:ext cx="8543999" cy="423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аемые задачи</a:t>
            </a: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154237" y="1413571"/>
            <a:ext cx="7886700" cy="4352925"/>
          </a:xfrm>
        </p:spPr>
        <p:txBody>
          <a:bodyPr/>
          <a:lstStyle/>
          <a:p>
            <a:r>
              <a:rPr lang="ru-RU" dirty="0">
                <a:solidFill>
                  <a:srgbClr val="FC6E51"/>
                </a:solidFill>
              </a:rPr>
              <a:t>Унификация</a:t>
            </a:r>
            <a:r>
              <a:rPr lang="ru-RU" dirty="0"/>
              <a:t> </a:t>
            </a:r>
            <a:r>
              <a:rPr lang="ru-RU" dirty="0">
                <a:solidFill>
                  <a:srgbClr val="808080"/>
                </a:solidFill>
              </a:rPr>
              <a:t>процессов работы с договорами</a:t>
            </a:r>
          </a:p>
          <a:p>
            <a:r>
              <a:rPr lang="ru-RU" dirty="0">
                <a:solidFill>
                  <a:srgbClr val="FC6E51"/>
                </a:solidFill>
              </a:rPr>
              <a:t>Повышение</a:t>
            </a:r>
            <a:r>
              <a:rPr lang="ru-RU" dirty="0"/>
              <a:t> </a:t>
            </a:r>
            <a:r>
              <a:rPr lang="ru-RU" dirty="0">
                <a:solidFill>
                  <a:srgbClr val="808080"/>
                </a:solidFill>
              </a:rPr>
              <a:t>точности планирования</a:t>
            </a:r>
          </a:p>
          <a:p>
            <a:r>
              <a:rPr lang="ru-RU" dirty="0">
                <a:solidFill>
                  <a:srgbClr val="FC6E51"/>
                </a:solidFill>
              </a:rPr>
              <a:t>Сокращение</a:t>
            </a:r>
            <a:r>
              <a:rPr lang="ru-RU" dirty="0"/>
              <a:t> </a:t>
            </a:r>
            <a:r>
              <a:rPr lang="ru-RU" dirty="0">
                <a:solidFill>
                  <a:srgbClr val="808080"/>
                </a:solidFill>
              </a:rPr>
              <a:t>ручного труда</a:t>
            </a:r>
          </a:p>
          <a:p>
            <a:r>
              <a:rPr lang="ru-RU" dirty="0">
                <a:solidFill>
                  <a:srgbClr val="FC6E51"/>
                </a:solidFill>
              </a:rPr>
              <a:t>Снижение</a:t>
            </a:r>
            <a:r>
              <a:rPr lang="ru-RU" dirty="0"/>
              <a:t> </a:t>
            </a:r>
            <a:r>
              <a:rPr lang="ru-RU" dirty="0">
                <a:solidFill>
                  <a:srgbClr val="808080"/>
                </a:solidFill>
              </a:rPr>
              <a:t>кредитных и регуляторных рисков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781864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7FD541-434B-49E5-8E21-A43152666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нирование рефинансирования кредитов</a:t>
            </a:r>
            <a:br>
              <a:rPr lang="ru-RU" dirty="0"/>
            </a:br>
            <a:r>
              <a:rPr lang="ru-RU" dirty="0"/>
              <a:t>Шаг 1. Привлечение нового кредита</a:t>
            </a:r>
          </a:p>
        </p:txBody>
      </p:sp>
      <p:pic>
        <p:nvPicPr>
          <p:cNvPr id="5" name="Объект 4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6B8B79AD-5643-49C2-B698-F4D89BE2A1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90" y="1197546"/>
            <a:ext cx="10875794" cy="5318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6DB3D745-EBC5-4EBC-A371-6FDD184877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067" y="2133650"/>
            <a:ext cx="9231013" cy="32198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19489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Планирование рефинансирования кредитов</a:t>
            </a:r>
            <a:br>
              <a:rPr lang="ru-RU" dirty="0"/>
            </a:br>
            <a:r>
              <a:rPr lang="ru-RU" dirty="0"/>
              <a:t>Шаг 2. Погашение текущих кредитов</a:t>
            </a:r>
          </a:p>
        </p:txBody>
      </p:sp>
      <p:pic>
        <p:nvPicPr>
          <p:cNvPr id="14" name="Рисунок 1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9BB3D1DF-BD53-4B5E-83E0-334803C61A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125538"/>
            <a:ext cx="12195175" cy="5869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5DAA0B6B-FC9F-47A8-B260-E0E8F70250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027" y="2277666"/>
            <a:ext cx="8496944" cy="37617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1410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тежный календарь в УХ 3.2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99" y="1794388"/>
            <a:ext cx="8244408" cy="4965967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solidFill>
                  <a:srgbClr val="FC6E51"/>
                </a:solidFill>
              </a:rPr>
              <a:t>Поддержка операций с наличными средствами</a:t>
            </a:r>
          </a:p>
          <a:p>
            <a:pPr lvl="1"/>
            <a:endParaRPr lang="ru-RU" dirty="0"/>
          </a:p>
          <a:p>
            <a:r>
              <a:rPr lang="ru-RU" dirty="0">
                <a:solidFill>
                  <a:srgbClr val="FC6E51"/>
                </a:solidFill>
              </a:rPr>
              <a:t>Развитие формы «Все заявки»</a:t>
            </a:r>
          </a:p>
          <a:p>
            <a:pPr lvl="1"/>
            <a:r>
              <a:rPr lang="ru-RU" dirty="0"/>
              <a:t>Поиск просроченных платежей</a:t>
            </a:r>
          </a:p>
          <a:p>
            <a:pPr lvl="1"/>
            <a:r>
              <a:rPr lang="ru-RU" dirty="0"/>
              <a:t>Более мощные фильтры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421450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Прямоугольник 62"/>
          <p:cNvSpPr>
            <a:spLocks noChangeArrowheads="1"/>
          </p:cNvSpPr>
          <p:nvPr/>
        </p:nvSpPr>
        <p:spPr bwMode="auto">
          <a:xfrm>
            <a:off x="1993131" y="4021971"/>
            <a:ext cx="7343775" cy="1079500"/>
          </a:xfrm>
          <a:prstGeom prst="rect">
            <a:avLst/>
          </a:prstGeom>
          <a:solidFill>
            <a:srgbClr val="F9E383">
              <a:alpha val="2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ДЗО</a:t>
            </a: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993131" y="2939296"/>
            <a:ext cx="7343775" cy="1079500"/>
          </a:xfrm>
          <a:prstGeom prst="rect">
            <a:avLst/>
          </a:prstGeom>
          <a:solidFill>
            <a:srgbClr val="CCD1D9">
              <a:alpha val="25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УК</a:t>
            </a:r>
          </a:p>
        </p:txBody>
      </p:sp>
      <p:sp>
        <p:nvSpPr>
          <p:cNvPr id="3482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Кэш-пулинг</a:t>
            </a:r>
            <a:endParaRPr lang="ru-RU" altLang="ru-RU" dirty="0"/>
          </a:p>
        </p:txBody>
      </p:sp>
      <p:sp>
        <p:nvSpPr>
          <p:cNvPr id="34822" name="Прямоугольник 19"/>
          <p:cNvSpPr>
            <a:spLocks noChangeArrowheads="1"/>
          </p:cNvSpPr>
          <p:nvPr/>
        </p:nvSpPr>
        <p:spPr bwMode="auto">
          <a:xfrm>
            <a:off x="4741091" y="2020136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Депозит</a:t>
            </a:r>
          </a:p>
        </p:txBody>
      </p:sp>
      <p:sp>
        <p:nvSpPr>
          <p:cNvPr id="34823" name="Прямоугольник 19"/>
          <p:cNvSpPr>
            <a:spLocks noChangeArrowheads="1"/>
          </p:cNvSpPr>
          <p:nvPr/>
        </p:nvSpPr>
        <p:spPr bwMode="auto">
          <a:xfrm>
            <a:off x="4741091" y="3078998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Мастер-счет</a:t>
            </a:r>
          </a:p>
        </p:txBody>
      </p:sp>
      <p:sp>
        <p:nvSpPr>
          <p:cNvPr id="34824" name="Прямоугольник 19"/>
          <p:cNvSpPr>
            <a:spLocks noChangeArrowheads="1"/>
          </p:cNvSpPr>
          <p:nvPr/>
        </p:nvSpPr>
        <p:spPr bwMode="auto">
          <a:xfrm>
            <a:off x="3144066" y="4380748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Счет 1</a:t>
            </a:r>
          </a:p>
        </p:txBody>
      </p:sp>
      <p:sp>
        <p:nvSpPr>
          <p:cNvPr id="34825" name="Прямоугольник 19"/>
          <p:cNvSpPr>
            <a:spLocks noChangeArrowheads="1"/>
          </p:cNvSpPr>
          <p:nvPr/>
        </p:nvSpPr>
        <p:spPr bwMode="auto">
          <a:xfrm>
            <a:off x="4741091" y="4379161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Счет 2</a:t>
            </a:r>
          </a:p>
        </p:txBody>
      </p:sp>
      <p:sp>
        <p:nvSpPr>
          <p:cNvPr id="34826" name="Прямоугольник 19"/>
          <p:cNvSpPr>
            <a:spLocks noChangeArrowheads="1"/>
          </p:cNvSpPr>
          <p:nvPr/>
        </p:nvSpPr>
        <p:spPr bwMode="auto">
          <a:xfrm>
            <a:off x="6312716" y="4372811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Счет 3</a:t>
            </a:r>
          </a:p>
        </p:txBody>
      </p:sp>
      <p:cxnSp>
        <p:nvCxnSpPr>
          <p:cNvPr id="4" name="Прямая со стрелкой 3"/>
          <p:cNvCxnSpPr>
            <a:stCxn id="34824" idx="0"/>
          </p:cNvCxnSpPr>
          <p:nvPr/>
        </p:nvCxnSpPr>
        <p:spPr bwMode="auto">
          <a:xfrm flipV="1">
            <a:off x="3791766" y="3653673"/>
            <a:ext cx="1225550" cy="727075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 стрелкой 30"/>
          <p:cNvCxnSpPr>
            <a:stCxn id="34825" idx="0"/>
            <a:endCxn id="34823" idx="2"/>
          </p:cNvCxnSpPr>
          <p:nvPr/>
        </p:nvCxnSpPr>
        <p:spPr bwMode="auto">
          <a:xfrm flipV="1">
            <a:off x="5388791" y="3653671"/>
            <a:ext cx="0" cy="72548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 стрелкой 35"/>
          <p:cNvCxnSpPr>
            <a:stCxn id="34826" idx="0"/>
          </p:cNvCxnSpPr>
          <p:nvPr/>
        </p:nvCxnSpPr>
        <p:spPr bwMode="auto">
          <a:xfrm flipH="1" flipV="1">
            <a:off x="5736454" y="3653671"/>
            <a:ext cx="1223962" cy="71913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Стрелка влево 33"/>
          <p:cNvSpPr/>
          <p:nvPr/>
        </p:nvSpPr>
        <p:spPr bwMode="auto">
          <a:xfrm rot="5400000">
            <a:off x="5280841" y="2548771"/>
            <a:ext cx="215900" cy="412750"/>
          </a:xfrm>
          <a:prstGeom prst="leftArrow">
            <a:avLst/>
          </a:prstGeom>
          <a:solidFill>
            <a:srgbClr val="FC6E51">
              <a:alpha val="50000"/>
            </a:srgbClr>
          </a:solidFill>
          <a:ln w="635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4831" name="TextBox 174103"/>
          <p:cNvSpPr txBox="1">
            <a:spLocks noChangeArrowheads="1"/>
          </p:cNvSpPr>
          <p:nvPr/>
        </p:nvSpPr>
        <p:spPr bwMode="auto">
          <a:xfrm>
            <a:off x="2136004" y="5314196"/>
            <a:ext cx="72009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 typeface="Arial" charset="0"/>
              <a:buChar char="•"/>
            </a:pPr>
            <a:r>
              <a:rPr lang="ru-RU" altLang="ru-RU" sz="1600" dirty="0">
                <a:solidFill>
                  <a:srgbClr val="808080"/>
                </a:solidFill>
              </a:rPr>
              <a:t>Управление остатками средств в разрезе пулов</a:t>
            </a:r>
          </a:p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 typeface="Arial" charset="0"/>
              <a:buChar char="•"/>
            </a:pPr>
            <a:r>
              <a:rPr lang="ru-RU" altLang="ru-RU" sz="1600" dirty="0">
                <a:solidFill>
                  <a:srgbClr val="808080"/>
                </a:solidFill>
              </a:rPr>
              <a:t>Концентрация средств в ручном или автоматическом режиме</a:t>
            </a:r>
          </a:p>
        </p:txBody>
      </p:sp>
    </p:spTree>
    <p:extLst>
      <p:ext uri="{BB962C8B-B14F-4D97-AF65-F5344CB8AC3E}">
        <p14:creationId xmlns:p14="http://schemas.microsoft.com/office/powerpoint/2010/main" val="1134243172"/>
      </p:ext>
    </p:extLst>
  </p:cSld>
  <p:clrMapOvr>
    <a:masterClrMapping/>
  </p:clrMapOvr>
  <p:transition spd="slow"/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Доверие или риск-менеджмент?</a:t>
            </a:r>
            <a:endParaRPr lang="ru-RU" altLang="ru-RU" dirty="0"/>
          </a:p>
        </p:txBody>
      </p:sp>
      <p:sp>
        <p:nvSpPr>
          <p:cNvPr id="24581" name="Прямоугольник 28"/>
          <p:cNvSpPr>
            <a:spLocks noChangeArrowheads="1"/>
          </p:cNvSpPr>
          <p:nvPr/>
        </p:nvSpPr>
        <p:spPr bwMode="auto">
          <a:xfrm>
            <a:off x="2652638" y="2011554"/>
            <a:ext cx="1295400" cy="576262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Банк 1</a:t>
            </a:r>
          </a:p>
        </p:txBody>
      </p:sp>
      <p:sp>
        <p:nvSpPr>
          <p:cNvPr id="24583" name="Прямоугольник 28"/>
          <p:cNvSpPr>
            <a:spLocks noChangeArrowheads="1"/>
          </p:cNvSpPr>
          <p:nvPr/>
        </p:nvSpPr>
        <p:spPr bwMode="auto">
          <a:xfrm>
            <a:off x="2652638" y="2808479"/>
            <a:ext cx="1295400" cy="576262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Банк 2</a:t>
            </a:r>
          </a:p>
        </p:txBody>
      </p:sp>
      <p:sp>
        <p:nvSpPr>
          <p:cNvPr id="24585" name="Прямоугольник 28"/>
          <p:cNvSpPr>
            <a:spLocks noChangeArrowheads="1"/>
          </p:cNvSpPr>
          <p:nvPr/>
        </p:nvSpPr>
        <p:spPr bwMode="auto">
          <a:xfrm>
            <a:off x="2665338" y="3572068"/>
            <a:ext cx="1295400" cy="576263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Банк 3</a:t>
            </a:r>
          </a:p>
        </p:txBody>
      </p:sp>
      <p:sp>
        <p:nvSpPr>
          <p:cNvPr id="24587" name="Прямоугольник 79"/>
          <p:cNvSpPr>
            <a:spLocks noChangeArrowheads="1"/>
          </p:cNvSpPr>
          <p:nvPr/>
        </p:nvSpPr>
        <p:spPr bwMode="auto">
          <a:xfrm>
            <a:off x="2676450" y="4389629"/>
            <a:ext cx="1296988" cy="576262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Банк 4</a:t>
            </a:r>
          </a:p>
        </p:txBody>
      </p:sp>
      <p:sp>
        <p:nvSpPr>
          <p:cNvPr id="24589" name="Прямоугольник 20"/>
          <p:cNvSpPr>
            <a:spLocks noChangeArrowheads="1"/>
          </p:cNvSpPr>
          <p:nvPr/>
        </p:nvSpPr>
        <p:spPr bwMode="auto">
          <a:xfrm>
            <a:off x="7130975" y="2106804"/>
            <a:ext cx="1295400" cy="576262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УК</a:t>
            </a:r>
          </a:p>
        </p:txBody>
      </p:sp>
      <p:sp>
        <p:nvSpPr>
          <p:cNvPr id="24591" name="Прямоугольник 20"/>
          <p:cNvSpPr>
            <a:spLocks noChangeArrowheads="1"/>
          </p:cNvSpPr>
          <p:nvPr/>
        </p:nvSpPr>
        <p:spPr bwMode="auto">
          <a:xfrm>
            <a:off x="7221463" y="3670493"/>
            <a:ext cx="1295400" cy="576263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ДЗО 1</a:t>
            </a:r>
          </a:p>
        </p:txBody>
      </p:sp>
      <p:sp>
        <p:nvSpPr>
          <p:cNvPr id="24593" name="Прямоугольник 20"/>
          <p:cNvSpPr>
            <a:spLocks noChangeArrowheads="1"/>
          </p:cNvSpPr>
          <p:nvPr/>
        </p:nvSpPr>
        <p:spPr bwMode="auto">
          <a:xfrm>
            <a:off x="7227813" y="4389629"/>
            <a:ext cx="1295400" cy="576262"/>
          </a:xfrm>
          <a:prstGeom prst="rect">
            <a:avLst/>
          </a:prstGeom>
          <a:solidFill>
            <a:srgbClr val="F9E383">
              <a:alpha val="75000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ДЗО 2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817739" y="5181793"/>
            <a:ext cx="5165773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C6E51"/>
                </a:solidFill>
              </a:rPr>
              <a:t>Кредитные лимиты</a:t>
            </a:r>
            <a:endParaRPr lang="en-US" b="1" dirty="0">
              <a:solidFill>
                <a:srgbClr val="FC6E51"/>
              </a:solidFill>
            </a:endParaRPr>
          </a:p>
          <a:p>
            <a:pPr lvl="1">
              <a:defRPr/>
            </a:pPr>
            <a:r>
              <a:rPr lang="ru-RU" dirty="0">
                <a:solidFill>
                  <a:srgbClr val="808080"/>
                </a:solidFill>
              </a:rPr>
              <a:t>Сколько нам готов дать банк?</a:t>
            </a:r>
            <a:endParaRPr lang="en-US" dirty="0">
              <a:solidFill>
                <a:srgbClr val="808080"/>
              </a:solidFill>
            </a:endParaRPr>
          </a:p>
          <a:p>
            <a:pPr>
              <a:defRPr/>
            </a:pPr>
            <a:r>
              <a:rPr lang="ru-RU" b="1" dirty="0">
                <a:solidFill>
                  <a:srgbClr val="FC6E51"/>
                </a:solidFill>
              </a:rPr>
              <a:t>Лимиты размещения</a:t>
            </a:r>
          </a:p>
          <a:p>
            <a:pPr lvl="1">
              <a:defRPr/>
            </a:pPr>
            <a:r>
              <a:rPr lang="ru-RU" dirty="0">
                <a:solidFill>
                  <a:srgbClr val="808080"/>
                </a:solidFill>
              </a:rPr>
              <a:t>Какую сумму мы готовы доверить банку?</a:t>
            </a:r>
          </a:p>
        </p:txBody>
      </p:sp>
      <p:sp>
        <p:nvSpPr>
          <p:cNvPr id="64" name="TextBox 63"/>
          <p:cNvSpPr txBox="1">
            <a:spLocks noChangeArrowheads="1"/>
          </p:cNvSpPr>
          <p:nvPr/>
        </p:nvSpPr>
        <p:spPr bwMode="auto">
          <a:xfrm rot="-1283317">
            <a:off x="5254790" y="2808270"/>
            <a:ext cx="90281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31 млн.</a:t>
            </a:r>
          </a:p>
        </p:txBody>
      </p:sp>
      <p:sp>
        <p:nvSpPr>
          <p:cNvPr id="67" name="TextBox 66"/>
          <p:cNvSpPr txBox="1">
            <a:spLocks noChangeArrowheads="1"/>
          </p:cNvSpPr>
          <p:nvPr/>
        </p:nvSpPr>
        <p:spPr bwMode="auto">
          <a:xfrm rot="-633858">
            <a:off x="5216690" y="2409808"/>
            <a:ext cx="90281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25 млн.</a:t>
            </a:r>
          </a:p>
        </p:txBody>
      </p:sp>
      <p:cxnSp>
        <p:nvCxnSpPr>
          <p:cNvPr id="84" name="Прямая со стрелкой 83"/>
          <p:cNvCxnSpPr>
            <a:cxnSpLocks noChangeShapeType="1"/>
            <a:stCxn id="24581" idx="3"/>
          </p:cNvCxnSpPr>
          <p:nvPr/>
        </p:nvCxnSpPr>
        <p:spPr bwMode="auto">
          <a:xfrm flipV="1">
            <a:off x="3948038" y="2298891"/>
            <a:ext cx="3089276" cy="794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7" name="TextBox 86"/>
          <p:cNvSpPr txBox="1">
            <a:spLocks noChangeArrowheads="1"/>
          </p:cNvSpPr>
          <p:nvPr/>
        </p:nvSpPr>
        <p:spPr bwMode="auto">
          <a:xfrm>
            <a:off x="5254552" y="1986154"/>
            <a:ext cx="90281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40 млн.</a:t>
            </a:r>
          </a:p>
        </p:txBody>
      </p:sp>
      <p:cxnSp>
        <p:nvCxnSpPr>
          <p:cNvPr id="92" name="Прямая со стрелкой 91"/>
          <p:cNvCxnSpPr>
            <a:cxnSpLocks noChangeShapeType="1"/>
            <a:stCxn id="24583" idx="3"/>
          </p:cNvCxnSpPr>
          <p:nvPr/>
        </p:nvCxnSpPr>
        <p:spPr bwMode="auto">
          <a:xfrm flipV="1">
            <a:off x="3948040" y="2500504"/>
            <a:ext cx="3089275" cy="595312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Прямая со стрелкой 94"/>
          <p:cNvCxnSpPr>
            <a:cxnSpLocks noChangeShapeType="1"/>
            <a:stCxn id="24585" idx="3"/>
          </p:cNvCxnSpPr>
          <p:nvPr/>
        </p:nvCxnSpPr>
        <p:spPr bwMode="auto">
          <a:xfrm flipV="1">
            <a:off x="3960740" y="2617979"/>
            <a:ext cx="3076575" cy="1243012"/>
          </a:xfrm>
          <a:prstGeom prst="straightConnector1">
            <a:avLst/>
          </a:prstGeom>
          <a:noFill/>
          <a:ln w="19050" algn="ctr">
            <a:solidFill>
              <a:srgbClr val="FC6E51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Прямая со стрелкой 105"/>
          <p:cNvCxnSpPr>
            <a:endCxn id="24581" idx="3"/>
          </p:cNvCxnSpPr>
          <p:nvPr/>
        </p:nvCxnSpPr>
        <p:spPr bwMode="auto">
          <a:xfrm flipH="1">
            <a:off x="3948040" y="2298891"/>
            <a:ext cx="3089275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9" name="TextBox 108"/>
          <p:cNvSpPr txBox="1">
            <a:spLocks noChangeArrowheads="1"/>
          </p:cNvSpPr>
          <p:nvPr/>
        </p:nvSpPr>
        <p:spPr bwMode="auto">
          <a:xfrm>
            <a:off x="4090915" y="1936941"/>
            <a:ext cx="90281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30 млн.</a:t>
            </a:r>
          </a:p>
        </p:txBody>
      </p:sp>
      <p:cxnSp>
        <p:nvCxnSpPr>
          <p:cNvPr id="110" name="Прямая со стрелкой 109"/>
          <p:cNvCxnSpPr/>
          <p:nvPr/>
        </p:nvCxnSpPr>
        <p:spPr bwMode="auto">
          <a:xfrm flipH="1" flipV="1">
            <a:off x="3948038" y="3087879"/>
            <a:ext cx="3179762" cy="77470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1" name="TextBox 110"/>
          <p:cNvSpPr txBox="1">
            <a:spLocks noChangeArrowheads="1"/>
          </p:cNvSpPr>
          <p:nvPr/>
        </p:nvSpPr>
        <p:spPr bwMode="auto">
          <a:xfrm rot="819115">
            <a:off x="4111790" y="2876533"/>
            <a:ext cx="90281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10 млн.</a:t>
            </a:r>
          </a:p>
        </p:txBody>
      </p:sp>
      <p:sp>
        <p:nvSpPr>
          <p:cNvPr id="24607" name="TextBox 1"/>
          <p:cNvSpPr txBox="1">
            <a:spLocks noChangeArrowheads="1"/>
          </p:cNvSpPr>
          <p:nvPr/>
        </p:nvSpPr>
        <p:spPr bwMode="auto">
          <a:xfrm>
            <a:off x="6810302" y="1516254"/>
            <a:ext cx="18065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808080"/>
                </a:solidFill>
              </a:rPr>
              <a:t>Группа компаний</a:t>
            </a:r>
          </a:p>
        </p:txBody>
      </p:sp>
      <p:sp>
        <p:nvSpPr>
          <p:cNvPr id="24608" name="TextBox 31"/>
          <p:cNvSpPr txBox="1">
            <a:spLocks noChangeArrowheads="1"/>
          </p:cNvSpPr>
          <p:nvPr/>
        </p:nvSpPr>
        <p:spPr bwMode="auto">
          <a:xfrm>
            <a:off x="2281163" y="1516254"/>
            <a:ext cx="1871662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 dirty="0">
                <a:solidFill>
                  <a:srgbClr val="808080"/>
                </a:solidFill>
              </a:rPr>
              <a:t>Кредитный рынок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417416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/>
      <p:bldP spid="87" grpId="0"/>
      <p:bldP spid="109" grpId="0"/>
      <p:bldP spid="111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cs typeface="Arial" charset="0"/>
              </a:rPr>
              <a:t>Инструменты для Единого заемщика</a:t>
            </a:r>
            <a:endParaRPr lang="ru-RU" altLang="ru-RU" dirty="0"/>
          </a:p>
        </p:txBody>
      </p:sp>
      <p:sp>
        <p:nvSpPr>
          <p:cNvPr id="32772" name="Прямоугольник 19"/>
          <p:cNvSpPr>
            <a:spLocks noChangeArrowheads="1"/>
          </p:cNvSpPr>
          <p:nvPr/>
        </p:nvSpPr>
        <p:spPr bwMode="auto">
          <a:xfrm>
            <a:off x="4599395" y="2091697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Банк - кредитор</a:t>
            </a:r>
          </a:p>
        </p:txBody>
      </p:sp>
      <p:sp>
        <p:nvSpPr>
          <p:cNvPr id="32773" name="Прямоугольник 19"/>
          <p:cNvSpPr>
            <a:spLocks noChangeArrowheads="1"/>
          </p:cNvSpPr>
          <p:nvPr/>
        </p:nvSpPr>
        <p:spPr bwMode="auto">
          <a:xfrm>
            <a:off x="4599395" y="3150559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 dirty="0">
                <a:solidFill>
                  <a:srgbClr val="808080"/>
                </a:solidFill>
              </a:rPr>
              <a:t>Единый заемщик</a:t>
            </a:r>
          </a:p>
        </p:txBody>
      </p:sp>
      <p:sp>
        <p:nvSpPr>
          <p:cNvPr id="32774" name="Прямоугольник 19"/>
          <p:cNvSpPr>
            <a:spLocks noChangeArrowheads="1"/>
          </p:cNvSpPr>
          <p:nvPr/>
        </p:nvSpPr>
        <p:spPr bwMode="auto">
          <a:xfrm>
            <a:off x="3002370" y="4452309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1200" b="1">
              <a:solidFill>
                <a:srgbClr val="808080"/>
              </a:solidFill>
            </a:endParaRPr>
          </a:p>
        </p:txBody>
      </p:sp>
      <p:sp>
        <p:nvSpPr>
          <p:cNvPr id="32775" name="Прямоугольник 19"/>
          <p:cNvSpPr>
            <a:spLocks noChangeArrowheads="1"/>
          </p:cNvSpPr>
          <p:nvPr/>
        </p:nvSpPr>
        <p:spPr bwMode="auto">
          <a:xfrm>
            <a:off x="4599395" y="4450722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1200" b="1">
              <a:solidFill>
                <a:srgbClr val="808080"/>
              </a:solidFill>
            </a:endParaRPr>
          </a:p>
        </p:txBody>
      </p:sp>
      <p:sp>
        <p:nvSpPr>
          <p:cNvPr id="32776" name="Прямоугольник 19"/>
          <p:cNvSpPr>
            <a:spLocks noChangeArrowheads="1"/>
          </p:cNvSpPr>
          <p:nvPr/>
        </p:nvSpPr>
        <p:spPr bwMode="auto">
          <a:xfrm>
            <a:off x="6171020" y="4444372"/>
            <a:ext cx="1295400" cy="574675"/>
          </a:xfrm>
          <a:prstGeom prst="rect">
            <a:avLst/>
          </a:prstGeom>
          <a:solidFill>
            <a:srgbClr val="FFC000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1200" b="1">
              <a:solidFill>
                <a:srgbClr val="808080"/>
              </a:solidFill>
            </a:endParaRPr>
          </a:p>
        </p:txBody>
      </p:sp>
      <p:sp>
        <p:nvSpPr>
          <p:cNvPr id="41" name="Стрелка влево 40"/>
          <p:cNvSpPr/>
          <p:nvPr/>
        </p:nvSpPr>
        <p:spPr bwMode="auto">
          <a:xfrm rot="16200000">
            <a:off x="5139145" y="2684626"/>
            <a:ext cx="215900" cy="414338"/>
          </a:xfrm>
          <a:prstGeom prst="leftArrow">
            <a:avLst/>
          </a:prstGeom>
          <a:solidFill>
            <a:srgbClr val="E9573F"/>
          </a:solidFill>
          <a:ln w="6350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defRPr/>
            </a:pPr>
            <a:endParaRPr lang="ru-RU" dirty="0">
              <a:solidFill>
                <a:srgbClr val="808080"/>
              </a:solidFill>
            </a:endParaRPr>
          </a:p>
        </p:txBody>
      </p:sp>
      <p:cxnSp>
        <p:nvCxnSpPr>
          <p:cNvPr id="42" name="Прямая со стрелкой 41"/>
          <p:cNvCxnSpPr/>
          <p:nvPr/>
        </p:nvCxnSpPr>
        <p:spPr bwMode="auto">
          <a:xfrm flipH="1">
            <a:off x="3553958" y="3724441"/>
            <a:ext cx="1225550" cy="727075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Прямая со стрелкой 45"/>
          <p:cNvCxnSpPr/>
          <p:nvPr/>
        </p:nvCxnSpPr>
        <p:spPr bwMode="auto">
          <a:xfrm>
            <a:off x="5247095" y="3777619"/>
            <a:ext cx="0" cy="72548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Прямая со стрелкой 46"/>
          <p:cNvCxnSpPr/>
          <p:nvPr/>
        </p:nvCxnSpPr>
        <p:spPr bwMode="auto">
          <a:xfrm>
            <a:off x="5853473" y="3782578"/>
            <a:ext cx="1223962" cy="71913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2135595" y="5530220"/>
            <a:ext cx="749038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 typeface="Arial" charset="0"/>
              <a:buChar char="•"/>
            </a:pPr>
            <a:r>
              <a:rPr lang="ru-RU" altLang="ru-RU" sz="1600" dirty="0">
                <a:solidFill>
                  <a:srgbClr val="808080"/>
                </a:solidFill>
              </a:rPr>
              <a:t>Привлечение кредита и распределение его по ДЗО</a:t>
            </a:r>
          </a:p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 typeface="Arial" charset="0"/>
              <a:buChar char="•"/>
            </a:pPr>
            <a:r>
              <a:rPr lang="ru-RU" altLang="ru-RU" sz="1600" dirty="0">
                <a:solidFill>
                  <a:srgbClr val="808080"/>
                </a:solidFill>
              </a:rPr>
              <a:t>Сбор платежей от ДЗО и обслуживание долга перед банком-кредитором</a:t>
            </a:r>
          </a:p>
        </p:txBody>
      </p:sp>
      <p:sp>
        <p:nvSpPr>
          <p:cNvPr id="32786" name="Прямоугольник 20"/>
          <p:cNvSpPr>
            <a:spLocks noChangeArrowheads="1"/>
          </p:cNvSpPr>
          <p:nvPr/>
        </p:nvSpPr>
        <p:spPr bwMode="auto">
          <a:xfrm>
            <a:off x="6228170" y="4503109"/>
            <a:ext cx="1295400" cy="576263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ДЗО 3</a:t>
            </a:r>
          </a:p>
        </p:txBody>
      </p:sp>
      <p:sp>
        <p:nvSpPr>
          <p:cNvPr id="32787" name="Прямоугольник 20"/>
          <p:cNvSpPr>
            <a:spLocks noChangeArrowheads="1"/>
          </p:cNvSpPr>
          <p:nvPr/>
        </p:nvSpPr>
        <p:spPr bwMode="auto">
          <a:xfrm>
            <a:off x="3056345" y="4503109"/>
            <a:ext cx="1295400" cy="576263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ДЗО 1</a:t>
            </a:r>
          </a:p>
        </p:txBody>
      </p:sp>
      <p:sp>
        <p:nvSpPr>
          <p:cNvPr id="32788" name="Прямоугольник 20"/>
          <p:cNvSpPr>
            <a:spLocks noChangeArrowheads="1"/>
          </p:cNvSpPr>
          <p:nvPr/>
        </p:nvSpPr>
        <p:spPr bwMode="auto">
          <a:xfrm>
            <a:off x="4659720" y="4503109"/>
            <a:ext cx="1295400" cy="576263"/>
          </a:xfrm>
          <a:prstGeom prst="rect">
            <a:avLst/>
          </a:prstGeom>
          <a:solidFill>
            <a:srgbClr val="F9E383">
              <a:alpha val="50195"/>
            </a:srgb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808080"/>
                </a:solidFill>
              </a:rPr>
              <a:t>ДЗО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0607463"/>
      </p:ext>
    </p:extLst>
  </p:cSld>
  <p:clrMapOvr>
    <a:masterClrMapping/>
  </p:clrMapOvr>
  <p:transition spd="slow"/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тежи и выпис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970307"/>
      </p:ext>
    </p:extLst>
  </p:cSld>
  <p:clrMapOvr>
    <a:masterClrMapping/>
  </p:clrMapOvr>
  <p:transition spd="slow"/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ÐÐ¾Ð´ÐºÐ»ÑÑÐµÐ½Ð¸Ðµ, Ð¡Ð²ÑÐ·Ð¸, Ð¡Ð¾ÑÑÑÐ´Ð½Ð¸ÑÐµÑÑÐ²Ð¾, Ð ÑÐºÐ¸, ÐÑÐ¾Ð²ÐµÐ´ÐµÐ½Ð¸Ð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683" y="2309076"/>
            <a:ext cx="9133904" cy="608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аемые задачи</a:t>
            </a: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154237" y="1413571"/>
            <a:ext cx="7886700" cy="4352925"/>
          </a:xfrm>
        </p:spPr>
        <p:txBody>
          <a:bodyPr/>
          <a:lstStyle/>
          <a:p>
            <a:r>
              <a:rPr lang="ru-RU" dirty="0">
                <a:solidFill>
                  <a:srgbClr val="FC6E51"/>
                </a:solidFill>
              </a:rPr>
              <a:t>Минимизация</a:t>
            </a:r>
            <a:r>
              <a:rPr lang="ru-RU" dirty="0"/>
              <a:t> </a:t>
            </a:r>
            <a:r>
              <a:rPr lang="ru-RU" dirty="0">
                <a:solidFill>
                  <a:srgbClr val="808080"/>
                </a:solidFill>
              </a:rPr>
              <a:t>человеческого фактора</a:t>
            </a:r>
          </a:p>
          <a:p>
            <a:r>
              <a:rPr lang="ru-RU" dirty="0">
                <a:solidFill>
                  <a:srgbClr val="FC6E51"/>
                </a:solidFill>
              </a:rPr>
              <a:t>Сокращение длительности </a:t>
            </a:r>
            <a:r>
              <a:rPr lang="ru-RU" dirty="0">
                <a:solidFill>
                  <a:srgbClr val="808080"/>
                </a:solidFill>
              </a:rPr>
              <a:t>платежного процесса</a:t>
            </a:r>
          </a:p>
          <a:p>
            <a:r>
              <a:rPr lang="ru-RU" dirty="0">
                <a:solidFill>
                  <a:srgbClr val="FC6E51"/>
                </a:solidFill>
              </a:rPr>
              <a:t>Повышение безопасности </a:t>
            </a:r>
            <a:r>
              <a:rPr lang="ru-RU" dirty="0">
                <a:solidFill>
                  <a:srgbClr val="808080"/>
                </a:solidFill>
              </a:rPr>
              <a:t>осуществления платежей</a:t>
            </a:r>
          </a:p>
        </p:txBody>
      </p:sp>
    </p:spTree>
    <p:extLst>
      <p:ext uri="{BB962C8B-B14F-4D97-AF65-F5344CB8AC3E}">
        <p14:creationId xmlns:p14="http://schemas.microsoft.com/office/powerpoint/2010/main" val="245132276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054525"/>
              </p:ext>
            </p:extLst>
          </p:nvPr>
        </p:nvGraphicFramePr>
        <p:xfrm>
          <a:off x="408955" y="1341562"/>
          <a:ext cx="10873208" cy="4944938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787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marL="0" marR="0" indent="0" algn="l" defTabSz="9145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естр платежей как отдельный документ систем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факта ДДС (поступления, списания, ПКО,</a:t>
                      </a:r>
                      <a:r>
                        <a:rPr lang="ru-RU" sz="1800" b="0" i="0" u="none" strike="noStrike" baseline="0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КО)</a:t>
                      </a:r>
                      <a:endParaRPr lang="ru-RU" sz="18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ирование платежных поручений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marL="0" marR="0" indent="0" algn="l" defTabSz="9145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ирование платежных поручений по графикам расче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правка платежей в банк и загрузка выписк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t-2-host </a:t>
                      </a:r>
                      <a:r>
                        <a:rPr lang="ru-RU" sz="18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мен с банкам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9894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страиваемые шаблоны для разнесения выписк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3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иск объектов расчетов по УИ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ектировка</a:t>
                      </a:r>
                      <a:r>
                        <a:rPr lang="ru-RU" sz="1800" baseline="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лимитов по данным выписки</a:t>
                      </a:r>
                      <a:endParaRPr lang="ru-RU" sz="1800" dirty="0">
                        <a:solidFill>
                          <a:srgbClr val="8080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07877">
                <a:tc>
                  <a:txBody>
                    <a:bodyPr/>
                    <a:lstStyle/>
                    <a:p>
                      <a:pPr marL="0" marR="0" lvl="0" indent="0" algn="l" defTabSz="9145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</a:t>
                      </a:r>
                      <a:r>
                        <a:rPr lang="ru-RU" sz="1800" baseline="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ля разнесения выписки</a:t>
                      </a:r>
                      <a:endParaRPr lang="ru-RU" sz="1800" dirty="0">
                        <a:solidFill>
                          <a:srgbClr val="8080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Freeform 67"/>
          <p:cNvSpPr>
            <a:spLocks noChangeAspect="1"/>
          </p:cNvSpPr>
          <p:nvPr/>
        </p:nvSpPr>
        <p:spPr bwMode="auto">
          <a:xfrm>
            <a:off x="8329835" y="238948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197627" y="1914049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238948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197627" y="2818586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1" name="Freeform 67"/>
          <p:cNvSpPr>
            <a:spLocks noChangeAspect="1"/>
          </p:cNvSpPr>
          <p:nvPr/>
        </p:nvSpPr>
        <p:spPr bwMode="auto">
          <a:xfrm>
            <a:off x="8329835" y="2814170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326150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369143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4" name="Freeform 67"/>
          <p:cNvSpPr>
            <a:spLocks noChangeAspect="1"/>
          </p:cNvSpPr>
          <p:nvPr/>
        </p:nvSpPr>
        <p:spPr bwMode="auto">
          <a:xfrm>
            <a:off x="8329835" y="369143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413118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197627" y="4528211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0" name="Freeform 67"/>
          <p:cNvSpPr>
            <a:spLocks noChangeAspect="1"/>
          </p:cNvSpPr>
          <p:nvPr/>
        </p:nvSpPr>
        <p:spPr bwMode="auto">
          <a:xfrm>
            <a:off x="8329835" y="4969408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4969408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4" name="Freeform 67"/>
          <p:cNvSpPr>
            <a:spLocks noChangeAspect="1"/>
          </p:cNvSpPr>
          <p:nvPr/>
        </p:nvSpPr>
        <p:spPr bwMode="auto">
          <a:xfrm>
            <a:off x="10178166" y="5414046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5" name="Freeform 67"/>
          <p:cNvSpPr>
            <a:spLocks noChangeAspect="1"/>
          </p:cNvSpPr>
          <p:nvPr/>
        </p:nvSpPr>
        <p:spPr bwMode="auto">
          <a:xfrm>
            <a:off x="8329835" y="413118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6" name="Freeform 67"/>
          <p:cNvSpPr>
            <a:spLocks noChangeAspect="1"/>
          </p:cNvSpPr>
          <p:nvPr/>
        </p:nvSpPr>
        <p:spPr bwMode="auto">
          <a:xfrm>
            <a:off x="10197627" y="598311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73566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Реестр платежей</a:t>
            </a:r>
            <a:endParaRPr lang="ru-RU" alt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065139" y="5010288"/>
            <a:ext cx="7775718" cy="14311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Отдельный документ</a:t>
            </a:r>
          </a:p>
          <a:p>
            <a:pPr marL="28575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Согласуется</a:t>
            </a:r>
          </a:p>
          <a:p>
            <a:pPr marL="28575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Исключать заявки можно, добавлять – нельзя</a:t>
            </a:r>
          </a:p>
          <a:p>
            <a:pPr marL="28575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Хранит историю исключенных заявок и комментарии исключившего</a:t>
            </a:r>
          </a:p>
        </p:txBody>
      </p:sp>
      <p:grpSp>
        <p:nvGrpSpPr>
          <p:cNvPr id="25" name="Группа 4113"/>
          <p:cNvGrpSpPr>
            <a:grpSpLocks/>
          </p:cNvGrpSpPr>
          <p:nvPr/>
        </p:nvGrpSpPr>
        <p:grpSpPr bwMode="auto">
          <a:xfrm>
            <a:off x="881857" y="5010289"/>
            <a:ext cx="1180312" cy="1654999"/>
            <a:chOff x="161412" y="2888928"/>
            <a:chExt cx="900120" cy="1260168"/>
          </a:xfrm>
        </p:grpSpPr>
        <p:grpSp>
          <p:nvGrpSpPr>
            <p:cNvPr id="27" name="Группа 4"/>
            <p:cNvGrpSpPr>
              <a:grpSpLocks/>
            </p:cNvGrpSpPr>
            <p:nvPr/>
          </p:nvGrpSpPr>
          <p:grpSpPr bwMode="auto">
            <a:xfrm>
              <a:off x="287302" y="3001978"/>
              <a:ext cx="674688" cy="742950"/>
              <a:chOff x="3987324" y="1201738"/>
              <a:chExt cx="674688" cy="742950"/>
            </a:xfrm>
          </p:grpSpPr>
          <p:sp>
            <p:nvSpPr>
              <p:cNvPr id="29" name="Freeform 34"/>
              <p:cNvSpPr>
                <a:spLocks noChangeAspect="1" noEditPoints="1"/>
              </p:cNvSpPr>
              <p:nvPr/>
            </p:nvSpPr>
            <p:spPr bwMode="auto">
              <a:xfrm>
                <a:off x="3987324" y="1201738"/>
                <a:ext cx="436563" cy="604837"/>
              </a:xfrm>
              <a:custGeom>
                <a:avLst/>
                <a:gdLst>
                  <a:gd name="T0" fmla="*/ 2147483647 w 3426"/>
                  <a:gd name="T1" fmla="*/ 2147483647 h 4763"/>
                  <a:gd name="T2" fmla="*/ 2147483647 w 3426"/>
                  <a:gd name="T3" fmla="*/ 2147483647 h 4763"/>
                  <a:gd name="T4" fmla="*/ 2147483647 w 3426"/>
                  <a:gd name="T5" fmla="*/ 2147483647 h 4763"/>
                  <a:gd name="T6" fmla="*/ 2147483647 w 3426"/>
                  <a:gd name="T7" fmla="*/ 2147483647 h 4763"/>
                  <a:gd name="T8" fmla="*/ 2147483647 w 3426"/>
                  <a:gd name="T9" fmla="*/ 2147483647 h 4763"/>
                  <a:gd name="T10" fmla="*/ 2147483647 w 3426"/>
                  <a:gd name="T11" fmla="*/ 2147483647 h 4763"/>
                  <a:gd name="T12" fmla="*/ 2147483647 w 3426"/>
                  <a:gd name="T13" fmla="*/ 2147483647 h 4763"/>
                  <a:gd name="T14" fmla="*/ 2147483647 w 3426"/>
                  <a:gd name="T15" fmla="*/ 2147483647 h 4763"/>
                  <a:gd name="T16" fmla="*/ 2147483647 w 3426"/>
                  <a:gd name="T17" fmla="*/ 2147483647 h 4763"/>
                  <a:gd name="T18" fmla="*/ 2147483647 w 3426"/>
                  <a:gd name="T19" fmla="*/ 2147483647 h 4763"/>
                  <a:gd name="T20" fmla="*/ 2147483647 w 3426"/>
                  <a:gd name="T21" fmla="*/ 2147483647 h 4763"/>
                  <a:gd name="T22" fmla="*/ 2147483647 w 3426"/>
                  <a:gd name="T23" fmla="*/ 2147483647 h 4763"/>
                  <a:gd name="T24" fmla="*/ 2147483647 w 3426"/>
                  <a:gd name="T25" fmla="*/ 2147483647 h 4763"/>
                  <a:gd name="T26" fmla="*/ 2147483647 w 3426"/>
                  <a:gd name="T27" fmla="*/ 2147483647 h 4763"/>
                  <a:gd name="T28" fmla="*/ 2147483647 w 3426"/>
                  <a:gd name="T29" fmla="*/ 2147483647 h 4763"/>
                  <a:gd name="T30" fmla="*/ 0 w 3426"/>
                  <a:gd name="T31" fmla="*/ 2147483647 h 4763"/>
                  <a:gd name="T32" fmla="*/ 0 w 3426"/>
                  <a:gd name="T33" fmla="*/ 0 h 4763"/>
                  <a:gd name="T34" fmla="*/ 2147483647 w 3426"/>
                  <a:gd name="T35" fmla="*/ 0 h 4763"/>
                  <a:gd name="T36" fmla="*/ 2147483647 w 3426"/>
                  <a:gd name="T37" fmla="*/ 2147483647 h 4763"/>
                  <a:gd name="T38" fmla="*/ 2147483647 w 3426"/>
                  <a:gd name="T39" fmla="*/ 2147483647 h 4763"/>
                  <a:gd name="T40" fmla="*/ 2147483647 w 3426"/>
                  <a:gd name="T41" fmla="*/ 2147483647 h 4763"/>
                  <a:gd name="T42" fmla="*/ 2147483647 w 3426"/>
                  <a:gd name="T43" fmla="*/ 2147483647 h 4763"/>
                  <a:gd name="T44" fmla="*/ 2147483647 w 3426"/>
                  <a:gd name="T45" fmla="*/ 2147483647 h 4763"/>
                  <a:gd name="T46" fmla="*/ 2147483647 w 3426"/>
                  <a:gd name="T47" fmla="*/ 2147483647 h 4763"/>
                  <a:gd name="T48" fmla="*/ 2147483647 w 3426"/>
                  <a:gd name="T49" fmla="*/ 2147483647 h 4763"/>
                  <a:gd name="T50" fmla="*/ 2147483647 w 3426"/>
                  <a:gd name="T51" fmla="*/ 2147483647 h 4763"/>
                  <a:gd name="T52" fmla="*/ 2147483647 w 3426"/>
                  <a:gd name="T53" fmla="*/ 2147483647 h 4763"/>
                  <a:gd name="T54" fmla="*/ 2147483647 w 3426"/>
                  <a:gd name="T55" fmla="*/ 2147483647 h 4763"/>
                  <a:gd name="T56" fmla="*/ 2147483647 w 3426"/>
                  <a:gd name="T57" fmla="*/ 2147483647 h 4763"/>
                  <a:gd name="T58" fmla="*/ 2147483647 w 3426"/>
                  <a:gd name="T59" fmla="*/ 2147483647 h 4763"/>
                  <a:gd name="T60" fmla="*/ 2147483647 w 3426"/>
                  <a:gd name="T61" fmla="*/ 2147483647 h 4763"/>
                  <a:gd name="T62" fmla="*/ 2147483647 w 3426"/>
                  <a:gd name="T63" fmla="*/ 2147483647 h 4763"/>
                  <a:gd name="T64" fmla="*/ 2147483647 w 3426"/>
                  <a:gd name="T65" fmla="*/ 2147483647 h 4763"/>
                  <a:gd name="T66" fmla="*/ 2147483647 w 3426"/>
                  <a:gd name="T67" fmla="*/ 2147483647 h 4763"/>
                  <a:gd name="T68" fmla="*/ 2147483647 w 3426"/>
                  <a:gd name="T69" fmla="*/ 2147483647 h 4763"/>
                  <a:gd name="T70" fmla="*/ 2147483647 w 3426"/>
                  <a:gd name="T71" fmla="*/ 2147483647 h 4763"/>
                  <a:gd name="T72" fmla="*/ 2147483647 w 3426"/>
                  <a:gd name="T73" fmla="*/ 2147483647 h 4763"/>
                  <a:gd name="T74" fmla="*/ 2147483647 w 3426"/>
                  <a:gd name="T75" fmla="*/ 2147483647 h 476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426"/>
                  <a:gd name="T115" fmla="*/ 0 h 4763"/>
                  <a:gd name="T116" fmla="*/ 3426 w 3426"/>
                  <a:gd name="T117" fmla="*/ 4763 h 476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426" h="4763">
                    <a:moveTo>
                      <a:pt x="608" y="3039"/>
                    </a:moveTo>
                    <a:lnTo>
                      <a:pt x="2820" y="3039"/>
                    </a:lnTo>
                    <a:lnTo>
                      <a:pt x="2820" y="3135"/>
                    </a:lnTo>
                    <a:lnTo>
                      <a:pt x="608" y="3135"/>
                    </a:lnTo>
                    <a:lnTo>
                      <a:pt x="608" y="3039"/>
                    </a:lnTo>
                    <a:close/>
                    <a:moveTo>
                      <a:pt x="3160" y="901"/>
                    </a:moveTo>
                    <a:lnTo>
                      <a:pt x="2532" y="272"/>
                    </a:lnTo>
                    <a:lnTo>
                      <a:pt x="2532" y="901"/>
                    </a:lnTo>
                    <a:lnTo>
                      <a:pt x="3160" y="901"/>
                    </a:lnTo>
                    <a:close/>
                    <a:moveTo>
                      <a:pt x="193" y="193"/>
                    </a:moveTo>
                    <a:lnTo>
                      <a:pt x="193" y="4570"/>
                    </a:lnTo>
                    <a:lnTo>
                      <a:pt x="3232" y="4570"/>
                    </a:lnTo>
                    <a:lnTo>
                      <a:pt x="3233" y="1288"/>
                    </a:lnTo>
                    <a:lnTo>
                      <a:pt x="3426" y="1288"/>
                    </a:lnTo>
                    <a:lnTo>
                      <a:pt x="3425" y="4763"/>
                    </a:lnTo>
                    <a:lnTo>
                      <a:pt x="0" y="4763"/>
                    </a:lnTo>
                    <a:lnTo>
                      <a:pt x="0" y="0"/>
                    </a:lnTo>
                    <a:lnTo>
                      <a:pt x="2533" y="0"/>
                    </a:lnTo>
                    <a:lnTo>
                      <a:pt x="3426" y="894"/>
                    </a:lnTo>
                    <a:lnTo>
                      <a:pt x="3426" y="1095"/>
                    </a:lnTo>
                    <a:lnTo>
                      <a:pt x="2339" y="1095"/>
                    </a:lnTo>
                    <a:lnTo>
                      <a:pt x="2339" y="193"/>
                    </a:lnTo>
                    <a:lnTo>
                      <a:pt x="193" y="193"/>
                    </a:lnTo>
                    <a:close/>
                    <a:moveTo>
                      <a:pt x="608" y="3656"/>
                    </a:moveTo>
                    <a:lnTo>
                      <a:pt x="2336" y="3656"/>
                    </a:lnTo>
                    <a:lnTo>
                      <a:pt x="2336" y="3753"/>
                    </a:lnTo>
                    <a:lnTo>
                      <a:pt x="608" y="3753"/>
                    </a:lnTo>
                    <a:lnTo>
                      <a:pt x="608" y="3656"/>
                    </a:lnTo>
                    <a:close/>
                    <a:moveTo>
                      <a:pt x="608" y="1806"/>
                    </a:moveTo>
                    <a:lnTo>
                      <a:pt x="2820" y="1806"/>
                    </a:lnTo>
                    <a:lnTo>
                      <a:pt x="2820" y="1903"/>
                    </a:lnTo>
                    <a:lnTo>
                      <a:pt x="608" y="1903"/>
                    </a:lnTo>
                    <a:lnTo>
                      <a:pt x="608" y="1806"/>
                    </a:lnTo>
                    <a:close/>
                    <a:moveTo>
                      <a:pt x="608" y="2423"/>
                    </a:moveTo>
                    <a:lnTo>
                      <a:pt x="2820" y="2423"/>
                    </a:lnTo>
                    <a:lnTo>
                      <a:pt x="2820" y="2519"/>
                    </a:lnTo>
                    <a:lnTo>
                      <a:pt x="608" y="2519"/>
                    </a:lnTo>
                    <a:lnTo>
                      <a:pt x="608" y="2423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Freeform 67"/>
              <p:cNvSpPr>
                <a:spLocks noChangeAspect="1"/>
              </p:cNvSpPr>
              <p:nvPr/>
            </p:nvSpPr>
            <p:spPr bwMode="auto">
              <a:xfrm>
                <a:off x="4230212" y="1450975"/>
                <a:ext cx="431800" cy="493713"/>
              </a:xfrm>
              <a:custGeom>
                <a:avLst/>
                <a:gdLst>
                  <a:gd name="T0" fmla="*/ 2147483647 w 4180"/>
                  <a:gd name="T1" fmla="*/ 2147483647 h 4763"/>
                  <a:gd name="T2" fmla="*/ 2147483647 w 4180"/>
                  <a:gd name="T3" fmla="*/ 2147483647 h 4763"/>
                  <a:gd name="T4" fmla="*/ 2147483647 w 4180"/>
                  <a:gd name="T5" fmla="*/ 2147483647 h 4763"/>
                  <a:gd name="T6" fmla="*/ 2147483647 w 4180"/>
                  <a:gd name="T7" fmla="*/ 2147483647 h 4763"/>
                  <a:gd name="T8" fmla="*/ 2147483647 w 4180"/>
                  <a:gd name="T9" fmla="*/ 2147483647 h 4763"/>
                  <a:gd name="T10" fmla="*/ 2147483647 w 4180"/>
                  <a:gd name="T11" fmla="*/ 2147483647 h 4763"/>
                  <a:gd name="T12" fmla="*/ 2147483647 w 4180"/>
                  <a:gd name="T13" fmla="*/ 2147483647 h 4763"/>
                  <a:gd name="T14" fmla="*/ 2147483647 w 4180"/>
                  <a:gd name="T15" fmla="*/ 2147483647 h 4763"/>
                  <a:gd name="T16" fmla="*/ 2147483647 w 4180"/>
                  <a:gd name="T17" fmla="*/ 2147483647 h 4763"/>
                  <a:gd name="T18" fmla="*/ 2147483647 w 4180"/>
                  <a:gd name="T19" fmla="*/ 2147483647 h 4763"/>
                  <a:gd name="T20" fmla="*/ 2147483647 w 4180"/>
                  <a:gd name="T21" fmla="*/ 2147483647 h 4763"/>
                  <a:gd name="T22" fmla="*/ 2147483647 w 4180"/>
                  <a:gd name="T23" fmla="*/ 2147483647 h 4763"/>
                  <a:gd name="T24" fmla="*/ 2147483647 w 4180"/>
                  <a:gd name="T25" fmla="*/ 2147483647 h 4763"/>
                  <a:gd name="T26" fmla="*/ 2147483647 w 4180"/>
                  <a:gd name="T27" fmla="*/ 2147483647 h 4763"/>
                  <a:gd name="T28" fmla="*/ 2147483647 w 4180"/>
                  <a:gd name="T29" fmla="*/ 2147483647 h 4763"/>
                  <a:gd name="T30" fmla="*/ 2147483647 w 4180"/>
                  <a:gd name="T31" fmla="*/ 2147483647 h 4763"/>
                  <a:gd name="T32" fmla="*/ 2147483647 w 4180"/>
                  <a:gd name="T33" fmla="*/ 2147483647 h 4763"/>
                  <a:gd name="T34" fmla="*/ 2147483647 w 4180"/>
                  <a:gd name="T35" fmla="*/ 2147483647 h 4763"/>
                  <a:gd name="T36" fmla="*/ 2147483647 w 4180"/>
                  <a:gd name="T37" fmla="*/ 2147483647 h 4763"/>
                  <a:gd name="T38" fmla="*/ 2147483647 w 4180"/>
                  <a:gd name="T39" fmla="*/ 2147483647 h 4763"/>
                  <a:gd name="T40" fmla="*/ 2147483647 w 4180"/>
                  <a:gd name="T41" fmla="*/ 2147483647 h 4763"/>
                  <a:gd name="T42" fmla="*/ 2147483647 w 4180"/>
                  <a:gd name="T43" fmla="*/ 2147483647 h 4763"/>
                  <a:gd name="T44" fmla="*/ 2147483647 w 4180"/>
                  <a:gd name="T45" fmla="*/ 2147483647 h 4763"/>
                  <a:gd name="T46" fmla="*/ 2147483647 w 4180"/>
                  <a:gd name="T47" fmla="*/ 2147483647 h 4763"/>
                  <a:gd name="T48" fmla="*/ 2147483647 w 4180"/>
                  <a:gd name="T49" fmla="*/ 2147483647 h 4763"/>
                  <a:gd name="T50" fmla="*/ 2147483647 w 4180"/>
                  <a:gd name="T51" fmla="*/ 2147483647 h 4763"/>
                  <a:gd name="T52" fmla="*/ 2147483647 w 4180"/>
                  <a:gd name="T53" fmla="*/ 2147483647 h 4763"/>
                  <a:gd name="T54" fmla="*/ 2147483647 w 4180"/>
                  <a:gd name="T55" fmla="*/ 2147483647 h 4763"/>
                  <a:gd name="T56" fmla="*/ 2147483647 w 4180"/>
                  <a:gd name="T57" fmla="*/ 2147483647 h 4763"/>
                  <a:gd name="T58" fmla="*/ 2147483647 w 4180"/>
                  <a:gd name="T59" fmla="*/ 2147483647 h 4763"/>
                  <a:gd name="T60" fmla="*/ 2147483647 w 4180"/>
                  <a:gd name="T61" fmla="*/ 2147483647 h 4763"/>
                  <a:gd name="T62" fmla="*/ 2147483647 w 4180"/>
                  <a:gd name="T63" fmla="*/ 2147483647 h 4763"/>
                  <a:gd name="T64" fmla="*/ 2147483647 w 4180"/>
                  <a:gd name="T65" fmla="*/ 2147483647 h 4763"/>
                  <a:gd name="T66" fmla="*/ 2147483647 w 4180"/>
                  <a:gd name="T67" fmla="*/ 2147483647 h 4763"/>
                  <a:gd name="T68" fmla="*/ 2147483647 w 4180"/>
                  <a:gd name="T69" fmla="*/ 2147483647 h 4763"/>
                  <a:gd name="T70" fmla="*/ 2147483647 w 4180"/>
                  <a:gd name="T71" fmla="*/ 2147483647 h 4763"/>
                  <a:gd name="T72" fmla="*/ 2147483647 w 4180"/>
                  <a:gd name="T73" fmla="*/ 2147483647 h 4763"/>
                  <a:gd name="T74" fmla="*/ 2147483647 w 4180"/>
                  <a:gd name="T75" fmla="*/ 2147483647 h 4763"/>
                  <a:gd name="T76" fmla="*/ 2147483647 w 4180"/>
                  <a:gd name="T77" fmla="*/ 2147483647 h 4763"/>
                  <a:gd name="T78" fmla="*/ 2147483647 w 4180"/>
                  <a:gd name="T79" fmla="*/ 2147483647 h 4763"/>
                  <a:gd name="T80" fmla="*/ 2147483647 w 4180"/>
                  <a:gd name="T81" fmla="*/ 2147483647 h 4763"/>
                  <a:gd name="T82" fmla="*/ 2147483647 w 4180"/>
                  <a:gd name="T83" fmla="*/ 2147483647 h 4763"/>
                  <a:gd name="T84" fmla="*/ 2147483647 w 4180"/>
                  <a:gd name="T85" fmla="*/ 2147483647 h 4763"/>
                  <a:gd name="T86" fmla="*/ 2147483647 w 4180"/>
                  <a:gd name="T87" fmla="*/ 2147483647 h 4763"/>
                  <a:gd name="T88" fmla="*/ 2147483647 w 4180"/>
                  <a:gd name="T89" fmla="*/ 2147483647 h 4763"/>
                  <a:gd name="T90" fmla="*/ 2147483647 w 4180"/>
                  <a:gd name="T91" fmla="*/ 2147483647 h 4763"/>
                  <a:gd name="T92" fmla="*/ 2147483647 w 4180"/>
                  <a:gd name="T93" fmla="*/ 2147483647 h 4763"/>
                  <a:gd name="T94" fmla="*/ 2147483647 w 4180"/>
                  <a:gd name="T95" fmla="*/ 2147483647 h 4763"/>
                  <a:gd name="T96" fmla="*/ 2147483647 w 4180"/>
                  <a:gd name="T97" fmla="*/ 2147483647 h 4763"/>
                  <a:gd name="T98" fmla="*/ 2147483647 w 4180"/>
                  <a:gd name="T99" fmla="*/ 2147483647 h 4763"/>
                  <a:gd name="T100" fmla="*/ 2147483647 w 4180"/>
                  <a:gd name="T101" fmla="*/ 2147483647 h 4763"/>
                  <a:gd name="T102" fmla="*/ 2147483647 w 4180"/>
                  <a:gd name="T103" fmla="*/ 2147483647 h 4763"/>
                  <a:gd name="T104" fmla="*/ 2147483647 w 4180"/>
                  <a:gd name="T105" fmla="*/ 2147483647 h 4763"/>
                  <a:gd name="T106" fmla="*/ 0 w 4180"/>
                  <a:gd name="T107" fmla="*/ 2147483647 h 4763"/>
                  <a:gd name="T108" fmla="*/ 2147483647 w 4180"/>
                  <a:gd name="T109" fmla="*/ 2147483647 h 4763"/>
                  <a:gd name="T110" fmla="*/ 2147483647 w 4180"/>
                  <a:gd name="T111" fmla="*/ 2147483647 h 4763"/>
                  <a:gd name="T112" fmla="*/ 2147483647 w 4180"/>
                  <a:gd name="T113" fmla="*/ 2147483647 h 476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180"/>
                  <a:gd name="T172" fmla="*/ 0 h 4763"/>
                  <a:gd name="T173" fmla="*/ 4180 w 4180"/>
                  <a:gd name="T174" fmla="*/ 4763 h 476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180" h="4763">
                    <a:moveTo>
                      <a:pt x="1861" y="1508"/>
                    </a:moveTo>
                    <a:lnTo>
                      <a:pt x="1861" y="1508"/>
                    </a:lnTo>
                    <a:lnTo>
                      <a:pt x="1804" y="1509"/>
                    </a:lnTo>
                    <a:lnTo>
                      <a:pt x="1749" y="1512"/>
                    </a:lnTo>
                    <a:lnTo>
                      <a:pt x="1693" y="1517"/>
                    </a:lnTo>
                    <a:lnTo>
                      <a:pt x="1638" y="1524"/>
                    </a:lnTo>
                    <a:lnTo>
                      <a:pt x="1583" y="1533"/>
                    </a:lnTo>
                    <a:lnTo>
                      <a:pt x="1531" y="1544"/>
                    </a:lnTo>
                    <a:lnTo>
                      <a:pt x="1478" y="1557"/>
                    </a:lnTo>
                    <a:lnTo>
                      <a:pt x="1425" y="1571"/>
                    </a:lnTo>
                    <a:lnTo>
                      <a:pt x="1373" y="1588"/>
                    </a:lnTo>
                    <a:lnTo>
                      <a:pt x="1323" y="1607"/>
                    </a:lnTo>
                    <a:lnTo>
                      <a:pt x="1273" y="1626"/>
                    </a:lnTo>
                    <a:lnTo>
                      <a:pt x="1224" y="1647"/>
                    </a:lnTo>
                    <a:lnTo>
                      <a:pt x="1177" y="1670"/>
                    </a:lnTo>
                    <a:lnTo>
                      <a:pt x="1130" y="1696"/>
                    </a:lnTo>
                    <a:lnTo>
                      <a:pt x="1084" y="1722"/>
                    </a:lnTo>
                    <a:lnTo>
                      <a:pt x="1039" y="1750"/>
                    </a:lnTo>
                    <a:lnTo>
                      <a:pt x="916" y="1571"/>
                    </a:lnTo>
                    <a:lnTo>
                      <a:pt x="967" y="1539"/>
                    </a:lnTo>
                    <a:lnTo>
                      <a:pt x="1020" y="1509"/>
                    </a:lnTo>
                    <a:lnTo>
                      <a:pt x="1074" y="1481"/>
                    </a:lnTo>
                    <a:lnTo>
                      <a:pt x="1128" y="1454"/>
                    </a:lnTo>
                    <a:lnTo>
                      <a:pt x="1185" y="1428"/>
                    </a:lnTo>
                    <a:lnTo>
                      <a:pt x="1242" y="1405"/>
                    </a:lnTo>
                    <a:lnTo>
                      <a:pt x="1300" y="1384"/>
                    </a:lnTo>
                    <a:lnTo>
                      <a:pt x="1360" y="1366"/>
                    </a:lnTo>
                    <a:lnTo>
                      <a:pt x="1420" y="1348"/>
                    </a:lnTo>
                    <a:lnTo>
                      <a:pt x="1480" y="1333"/>
                    </a:lnTo>
                    <a:lnTo>
                      <a:pt x="1541" y="1321"/>
                    </a:lnTo>
                    <a:lnTo>
                      <a:pt x="1605" y="1310"/>
                    </a:lnTo>
                    <a:lnTo>
                      <a:pt x="1667" y="1302"/>
                    </a:lnTo>
                    <a:lnTo>
                      <a:pt x="1731" y="1296"/>
                    </a:lnTo>
                    <a:lnTo>
                      <a:pt x="1796" y="1292"/>
                    </a:lnTo>
                    <a:lnTo>
                      <a:pt x="1861" y="1291"/>
                    </a:lnTo>
                    <a:lnTo>
                      <a:pt x="1913" y="1292"/>
                    </a:lnTo>
                    <a:lnTo>
                      <a:pt x="1964" y="1294"/>
                    </a:lnTo>
                    <a:lnTo>
                      <a:pt x="2014" y="1298"/>
                    </a:lnTo>
                    <a:lnTo>
                      <a:pt x="2064" y="1303"/>
                    </a:lnTo>
                    <a:lnTo>
                      <a:pt x="2113" y="1310"/>
                    </a:lnTo>
                    <a:lnTo>
                      <a:pt x="2163" y="1318"/>
                    </a:lnTo>
                    <a:lnTo>
                      <a:pt x="2212" y="1326"/>
                    </a:lnTo>
                    <a:lnTo>
                      <a:pt x="2259" y="1337"/>
                    </a:lnTo>
                    <a:lnTo>
                      <a:pt x="2307" y="1349"/>
                    </a:lnTo>
                    <a:lnTo>
                      <a:pt x="2354" y="1363"/>
                    </a:lnTo>
                    <a:lnTo>
                      <a:pt x="2402" y="1376"/>
                    </a:lnTo>
                    <a:lnTo>
                      <a:pt x="2448" y="1393"/>
                    </a:lnTo>
                    <a:lnTo>
                      <a:pt x="2492" y="1410"/>
                    </a:lnTo>
                    <a:lnTo>
                      <a:pt x="2537" y="1428"/>
                    </a:lnTo>
                    <a:lnTo>
                      <a:pt x="2582" y="1448"/>
                    </a:lnTo>
                    <a:lnTo>
                      <a:pt x="2625" y="1468"/>
                    </a:lnTo>
                    <a:lnTo>
                      <a:pt x="3671" y="0"/>
                    </a:lnTo>
                    <a:lnTo>
                      <a:pt x="4180" y="737"/>
                    </a:lnTo>
                    <a:lnTo>
                      <a:pt x="1946" y="3874"/>
                    </a:lnTo>
                    <a:lnTo>
                      <a:pt x="1216" y="3859"/>
                    </a:lnTo>
                    <a:lnTo>
                      <a:pt x="387" y="2661"/>
                    </a:lnTo>
                    <a:lnTo>
                      <a:pt x="377" y="2704"/>
                    </a:lnTo>
                    <a:lnTo>
                      <a:pt x="368" y="2749"/>
                    </a:lnTo>
                    <a:lnTo>
                      <a:pt x="360" y="2795"/>
                    </a:lnTo>
                    <a:lnTo>
                      <a:pt x="354" y="2841"/>
                    </a:lnTo>
                    <a:lnTo>
                      <a:pt x="349" y="2887"/>
                    </a:lnTo>
                    <a:lnTo>
                      <a:pt x="345" y="2933"/>
                    </a:lnTo>
                    <a:lnTo>
                      <a:pt x="343" y="2980"/>
                    </a:lnTo>
                    <a:lnTo>
                      <a:pt x="343" y="3026"/>
                    </a:lnTo>
                    <a:lnTo>
                      <a:pt x="343" y="3066"/>
                    </a:lnTo>
                    <a:lnTo>
                      <a:pt x="344" y="3105"/>
                    </a:lnTo>
                    <a:lnTo>
                      <a:pt x="347" y="3144"/>
                    </a:lnTo>
                    <a:lnTo>
                      <a:pt x="351" y="3182"/>
                    </a:lnTo>
                    <a:lnTo>
                      <a:pt x="355" y="3220"/>
                    </a:lnTo>
                    <a:lnTo>
                      <a:pt x="360" y="3258"/>
                    </a:lnTo>
                    <a:lnTo>
                      <a:pt x="366" y="3296"/>
                    </a:lnTo>
                    <a:lnTo>
                      <a:pt x="374" y="3332"/>
                    </a:lnTo>
                    <a:lnTo>
                      <a:pt x="382" y="3370"/>
                    </a:lnTo>
                    <a:lnTo>
                      <a:pt x="390" y="3407"/>
                    </a:lnTo>
                    <a:lnTo>
                      <a:pt x="400" y="3442"/>
                    </a:lnTo>
                    <a:lnTo>
                      <a:pt x="410" y="3479"/>
                    </a:lnTo>
                    <a:lnTo>
                      <a:pt x="423" y="3514"/>
                    </a:lnTo>
                    <a:lnTo>
                      <a:pt x="435" y="3549"/>
                    </a:lnTo>
                    <a:lnTo>
                      <a:pt x="448" y="3584"/>
                    </a:lnTo>
                    <a:lnTo>
                      <a:pt x="462" y="3618"/>
                    </a:lnTo>
                    <a:lnTo>
                      <a:pt x="477" y="3652"/>
                    </a:lnTo>
                    <a:lnTo>
                      <a:pt x="493" y="3686"/>
                    </a:lnTo>
                    <a:lnTo>
                      <a:pt x="509" y="3719"/>
                    </a:lnTo>
                    <a:lnTo>
                      <a:pt x="526" y="3751"/>
                    </a:lnTo>
                    <a:lnTo>
                      <a:pt x="543" y="3784"/>
                    </a:lnTo>
                    <a:lnTo>
                      <a:pt x="562" y="3815"/>
                    </a:lnTo>
                    <a:lnTo>
                      <a:pt x="582" y="3846"/>
                    </a:lnTo>
                    <a:lnTo>
                      <a:pt x="601" y="3876"/>
                    </a:lnTo>
                    <a:lnTo>
                      <a:pt x="623" y="3907"/>
                    </a:lnTo>
                    <a:lnTo>
                      <a:pt x="645" y="3935"/>
                    </a:lnTo>
                    <a:lnTo>
                      <a:pt x="666" y="3965"/>
                    </a:lnTo>
                    <a:lnTo>
                      <a:pt x="689" y="3994"/>
                    </a:lnTo>
                    <a:lnTo>
                      <a:pt x="712" y="4021"/>
                    </a:lnTo>
                    <a:lnTo>
                      <a:pt x="737" y="4048"/>
                    </a:lnTo>
                    <a:lnTo>
                      <a:pt x="763" y="4075"/>
                    </a:lnTo>
                    <a:lnTo>
                      <a:pt x="787" y="4101"/>
                    </a:lnTo>
                    <a:lnTo>
                      <a:pt x="814" y="4126"/>
                    </a:lnTo>
                    <a:lnTo>
                      <a:pt x="840" y="4151"/>
                    </a:lnTo>
                    <a:lnTo>
                      <a:pt x="867" y="4175"/>
                    </a:lnTo>
                    <a:lnTo>
                      <a:pt x="895" y="4199"/>
                    </a:lnTo>
                    <a:lnTo>
                      <a:pt x="924" y="4222"/>
                    </a:lnTo>
                    <a:lnTo>
                      <a:pt x="952" y="4244"/>
                    </a:lnTo>
                    <a:lnTo>
                      <a:pt x="982" y="4266"/>
                    </a:lnTo>
                    <a:lnTo>
                      <a:pt x="1012" y="4286"/>
                    </a:lnTo>
                    <a:lnTo>
                      <a:pt x="1043" y="4306"/>
                    </a:lnTo>
                    <a:lnTo>
                      <a:pt x="1074" y="4325"/>
                    </a:lnTo>
                    <a:lnTo>
                      <a:pt x="1105" y="4344"/>
                    </a:lnTo>
                    <a:lnTo>
                      <a:pt x="1138" y="4362"/>
                    </a:lnTo>
                    <a:lnTo>
                      <a:pt x="1170" y="4380"/>
                    </a:lnTo>
                    <a:lnTo>
                      <a:pt x="1203" y="4396"/>
                    </a:lnTo>
                    <a:lnTo>
                      <a:pt x="1237" y="4412"/>
                    </a:lnTo>
                    <a:lnTo>
                      <a:pt x="1271" y="4427"/>
                    </a:lnTo>
                    <a:lnTo>
                      <a:pt x="1304" y="4441"/>
                    </a:lnTo>
                    <a:lnTo>
                      <a:pt x="1340" y="4454"/>
                    </a:lnTo>
                    <a:lnTo>
                      <a:pt x="1375" y="4466"/>
                    </a:lnTo>
                    <a:lnTo>
                      <a:pt x="1410" y="4477"/>
                    </a:lnTo>
                    <a:lnTo>
                      <a:pt x="1445" y="4488"/>
                    </a:lnTo>
                    <a:lnTo>
                      <a:pt x="1482" y="4497"/>
                    </a:lnTo>
                    <a:lnTo>
                      <a:pt x="1518" y="4507"/>
                    </a:lnTo>
                    <a:lnTo>
                      <a:pt x="1555" y="4515"/>
                    </a:lnTo>
                    <a:lnTo>
                      <a:pt x="1593" y="4522"/>
                    </a:lnTo>
                    <a:lnTo>
                      <a:pt x="1629" y="4529"/>
                    </a:lnTo>
                    <a:lnTo>
                      <a:pt x="1667" y="4534"/>
                    </a:lnTo>
                    <a:lnTo>
                      <a:pt x="1707" y="4538"/>
                    </a:lnTo>
                    <a:lnTo>
                      <a:pt x="1745" y="4541"/>
                    </a:lnTo>
                    <a:lnTo>
                      <a:pt x="1783" y="4544"/>
                    </a:lnTo>
                    <a:lnTo>
                      <a:pt x="1822" y="4545"/>
                    </a:lnTo>
                    <a:lnTo>
                      <a:pt x="1861" y="4546"/>
                    </a:lnTo>
                    <a:lnTo>
                      <a:pt x="1900" y="4545"/>
                    </a:lnTo>
                    <a:lnTo>
                      <a:pt x="1940" y="4544"/>
                    </a:lnTo>
                    <a:lnTo>
                      <a:pt x="1978" y="4541"/>
                    </a:lnTo>
                    <a:lnTo>
                      <a:pt x="2017" y="4538"/>
                    </a:lnTo>
                    <a:lnTo>
                      <a:pt x="2055" y="4534"/>
                    </a:lnTo>
                    <a:lnTo>
                      <a:pt x="2093" y="4529"/>
                    </a:lnTo>
                    <a:lnTo>
                      <a:pt x="2131" y="4522"/>
                    </a:lnTo>
                    <a:lnTo>
                      <a:pt x="2167" y="4515"/>
                    </a:lnTo>
                    <a:lnTo>
                      <a:pt x="2204" y="4507"/>
                    </a:lnTo>
                    <a:lnTo>
                      <a:pt x="2240" y="4497"/>
                    </a:lnTo>
                    <a:lnTo>
                      <a:pt x="2277" y="4488"/>
                    </a:lnTo>
                    <a:lnTo>
                      <a:pt x="2313" y="4477"/>
                    </a:lnTo>
                    <a:lnTo>
                      <a:pt x="2349" y="4466"/>
                    </a:lnTo>
                    <a:lnTo>
                      <a:pt x="2384" y="4454"/>
                    </a:lnTo>
                    <a:lnTo>
                      <a:pt x="2418" y="4441"/>
                    </a:lnTo>
                    <a:lnTo>
                      <a:pt x="2453" y="4427"/>
                    </a:lnTo>
                    <a:lnTo>
                      <a:pt x="2487" y="4412"/>
                    </a:lnTo>
                    <a:lnTo>
                      <a:pt x="2519" y="4396"/>
                    </a:lnTo>
                    <a:lnTo>
                      <a:pt x="2553" y="4380"/>
                    </a:lnTo>
                    <a:lnTo>
                      <a:pt x="2586" y="4362"/>
                    </a:lnTo>
                    <a:lnTo>
                      <a:pt x="2617" y="4344"/>
                    </a:lnTo>
                    <a:lnTo>
                      <a:pt x="2649" y="4325"/>
                    </a:lnTo>
                    <a:lnTo>
                      <a:pt x="2679" y="4306"/>
                    </a:lnTo>
                    <a:lnTo>
                      <a:pt x="2710" y="4286"/>
                    </a:lnTo>
                    <a:lnTo>
                      <a:pt x="2740" y="4266"/>
                    </a:lnTo>
                    <a:lnTo>
                      <a:pt x="2770" y="4244"/>
                    </a:lnTo>
                    <a:lnTo>
                      <a:pt x="2798" y="4222"/>
                    </a:lnTo>
                    <a:lnTo>
                      <a:pt x="2827" y="4199"/>
                    </a:lnTo>
                    <a:lnTo>
                      <a:pt x="2855" y="4175"/>
                    </a:lnTo>
                    <a:lnTo>
                      <a:pt x="2882" y="4151"/>
                    </a:lnTo>
                    <a:lnTo>
                      <a:pt x="2909" y="4126"/>
                    </a:lnTo>
                    <a:lnTo>
                      <a:pt x="2935" y="4101"/>
                    </a:lnTo>
                    <a:lnTo>
                      <a:pt x="2961" y="4075"/>
                    </a:lnTo>
                    <a:lnTo>
                      <a:pt x="2985" y="4048"/>
                    </a:lnTo>
                    <a:lnTo>
                      <a:pt x="3010" y="4021"/>
                    </a:lnTo>
                    <a:lnTo>
                      <a:pt x="3033" y="3994"/>
                    </a:lnTo>
                    <a:lnTo>
                      <a:pt x="3056" y="3965"/>
                    </a:lnTo>
                    <a:lnTo>
                      <a:pt x="3079" y="3935"/>
                    </a:lnTo>
                    <a:lnTo>
                      <a:pt x="3100" y="3907"/>
                    </a:lnTo>
                    <a:lnTo>
                      <a:pt x="3121" y="3876"/>
                    </a:lnTo>
                    <a:lnTo>
                      <a:pt x="3141" y="3846"/>
                    </a:lnTo>
                    <a:lnTo>
                      <a:pt x="3160" y="3815"/>
                    </a:lnTo>
                    <a:lnTo>
                      <a:pt x="3179" y="3784"/>
                    </a:lnTo>
                    <a:lnTo>
                      <a:pt x="3197" y="3751"/>
                    </a:lnTo>
                    <a:lnTo>
                      <a:pt x="3214" y="3719"/>
                    </a:lnTo>
                    <a:lnTo>
                      <a:pt x="3230" y="3686"/>
                    </a:lnTo>
                    <a:lnTo>
                      <a:pt x="3245" y="3652"/>
                    </a:lnTo>
                    <a:lnTo>
                      <a:pt x="3260" y="3618"/>
                    </a:lnTo>
                    <a:lnTo>
                      <a:pt x="3275" y="3584"/>
                    </a:lnTo>
                    <a:lnTo>
                      <a:pt x="3287" y="3549"/>
                    </a:lnTo>
                    <a:lnTo>
                      <a:pt x="3300" y="3514"/>
                    </a:lnTo>
                    <a:lnTo>
                      <a:pt x="3312" y="3479"/>
                    </a:lnTo>
                    <a:lnTo>
                      <a:pt x="3323" y="3442"/>
                    </a:lnTo>
                    <a:lnTo>
                      <a:pt x="3332" y="3407"/>
                    </a:lnTo>
                    <a:lnTo>
                      <a:pt x="3342" y="3370"/>
                    </a:lnTo>
                    <a:lnTo>
                      <a:pt x="3350" y="3332"/>
                    </a:lnTo>
                    <a:lnTo>
                      <a:pt x="3356" y="3296"/>
                    </a:lnTo>
                    <a:lnTo>
                      <a:pt x="3362" y="3258"/>
                    </a:lnTo>
                    <a:lnTo>
                      <a:pt x="3367" y="3220"/>
                    </a:lnTo>
                    <a:lnTo>
                      <a:pt x="3373" y="3182"/>
                    </a:lnTo>
                    <a:lnTo>
                      <a:pt x="3375" y="3144"/>
                    </a:lnTo>
                    <a:lnTo>
                      <a:pt x="3378" y="3105"/>
                    </a:lnTo>
                    <a:lnTo>
                      <a:pt x="3379" y="3066"/>
                    </a:lnTo>
                    <a:lnTo>
                      <a:pt x="3379" y="3026"/>
                    </a:lnTo>
                    <a:lnTo>
                      <a:pt x="3379" y="2987"/>
                    </a:lnTo>
                    <a:lnTo>
                      <a:pt x="3378" y="2946"/>
                    </a:lnTo>
                    <a:lnTo>
                      <a:pt x="3375" y="2907"/>
                    </a:lnTo>
                    <a:lnTo>
                      <a:pt x="3371" y="2868"/>
                    </a:lnTo>
                    <a:lnTo>
                      <a:pt x="3367" y="2829"/>
                    </a:lnTo>
                    <a:lnTo>
                      <a:pt x="3362" y="2789"/>
                    </a:lnTo>
                    <a:lnTo>
                      <a:pt x="3355" y="2751"/>
                    </a:lnTo>
                    <a:lnTo>
                      <a:pt x="3347" y="2713"/>
                    </a:lnTo>
                    <a:lnTo>
                      <a:pt x="3339" y="2675"/>
                    </a:lnTo>
                    <a:lnTo>
                      <a:pt x="3329" y="2638"/>
                    </a:lnTo>
                    <a:lnTo>
                      <a:pt x="3320" y="2601"/>
                    </a:lnTo>
                    <a:lnTo>
                      <a:pt x="3308" y="2563"/>
                    </a:lnTo>
                    <a:lnTo>
                      <a:pt x="3296" y="2528"/>
                    </a:lnTo>
                    <a:lnTo>
                      <a:pt x="3283" y="2491"/>
                    </a:lnTo>
                    <a:lnTo>
                      <a:pt x="3268" y="2456"/>
                    </a:lnTo>
                    <a:lnTo>
                      <a:pt x="3255" y="2421"/>
                    </a:lnTo>
                    <a:lnTo>
                      <a:pt x="3398" y="2219"/>
                    </a:lnTo>
                    <a:lnTo>
                      <a:pt x="3421" y="2265"/>
                    </a:lnTo>
                    <a:lnTo>
                      <a:pt x="3443" y="2311"/>
                    </a:lnTo>
                    <a:lnTo>
                      <a:pt x="3463" y="2358"/>
                    </a:lnTo>
                    <a:lnTo>
                      <a:pt x="3482" y="2406"/>
                    </a:lnTo>
                    <a:lnTo>
                      <a:pt x="3500" y="2455"/>
                    </a:lnTo>
                    <a:lnTo>
                      <a:pt x="3516" y="2503"/>
                    </a:lnTo>
                    <a:lnTo>
                      <a:pt x="3531" y="2554"/>
                    </a:lnTo>
                    <a:lnTo>
                      <a:pt x="3545" y="2604"/>
                    </a:lnTo>
                    <a:lnTo>
                      <a:pt x="3557" y="2655"/>
                    </a:lnTo>
                    <a:lnTo>
                      <a:pt x="3568" y="2707"/>
                    </a:lnTo>
                    <a:lnTo>
                      <a:pt x="3576" y="2759"/>
                    </a:lnTo>
                    <a:lnTo>
                      <a:pt x="3584" y="2812"/>
                    </a:lnTo>
                    <a:lnTo>
                      <a:pt x="3589" y="2865"/>
                    </a:lnTo>
                    <a:lnTo>
                      <a:pt x="3593" y="2918"/>
                    </a:lnTo>
                    <a:lnTo>
                      <a:pt x="3596" y="2972"/>
                    </a:lnTo>
                    <a:lnTo>
                      <a:pt x="3596" y="3026"/>
                    </a:lnTo>
                    <a:lnTo>
                      <a:pt x="3596" y="3072"/>
                    </a:lnTo>
                    <a:lnTo>
                      <a:pt x="3595" y="3116"/>
                    </a:lnTo>
                    <a:lnTo>
                      <a:pt x="3592" y="3160"/>
                    </a:lnTo>
                    <a:lnTo>
                      <a:pt x="3588" y="3204"/>
                    </a:lnTo>
                    <a:lnTo>
                      <a:pt x="3583" y="3248"/>
                    </a:lnTo>
                    <a:lnTo>
                      <a:pt x="3577" y="3292"/>
                    </a:lnTo>
                    <a:lnTo>
                      <a:pt x="3569" y="3334"/>
                    </a:lnTo>
                    <a:lnTo>
                      <a:pt x="3561" y="3377"/>
                    </a:lnTo>
                    <a:lnTo>
                      <a:pt x="3553" y="3419"/>
                    </a:lnTo>
                    <a:lnTo>
                      <a:pt x="3542" y="3461"/>
                    </a:lnTo>
                    <a:lnTo>
                      <a:pt x="3531" y="3502"/>
                    </a:lnTo>
                    <a:lnTo>
                      <a:pt x="3519" y="3542"/>
                    </a:lnTo>
                    <a:lnTo>
                      <a:pt x="3505" y="3583"/>
                    </a:lnTo>
                    <a:lnTo>
                      <a:pt x="3492" y="3624"/>
                    </a:lnTo>
                    <a:lnTo>
                      <a:pt x="3476" y="3663"/>
                    </a:lnTo>
                    <a:lnTo>
                      <a:pt x="3461" y="3702"/>
                    </a:lnTo>
                    <a:lnTo>
                      <a:pt x="3443" y="3742"/>
                    </a:lnTo>
                    <a:lnTo>
                      <a:pt x="3426" y="3780"/>
                    </a:lnTo>
                    <a:lnTo>
                      <a:pt x="3407" y="3817"/>
                    </a:lnTo>
                    <a:lnTo>
                      <a:pt x="3388" y="3854"/>
                    </a:lnTo>
                    <a:lnTo>
                      <a:pt x="3367" y="3891"/>
                    </a:lnTo>
                    <a:lnTo>
                      <a:pt x="3346" y="3927"/>
                    </a:lnTo>
                    <a:lnTo>
                      <a:pt x="3324" y="3962"/>
                    </a:lnTo>
                    <a:lnTo>
                      <a:pt x="3301" y="3998"/>
                    </a:lnTo>
                    <a:lnTo>
                      <a:pt x="3277" y="4031"/>
                    </a:lnTo>
                    <a:lnTo>
                      <a:pt x="3252" y="4065"/>
                    </a:lnTo>
                    <a:lnTo>
                      <a:pt x="3226" y="4098"/>
                    </a:lnTo>
                    <a:lnTo>
                      <a:pt x="3201" y="4130"/>
                    </a:lnTo>
                    <a:lnTo>
                      <a:pt x="3174" y="4163"/>
                    </a:lnTo>
                    <a:lnTo>
                      <a:pt x="3147" y="4194"/>
                    </a:lnTo>
                    <a:lnTo>
                      <a:pt x="3118" y="4224"/>
                    </a:lnTo>
                    <a:lnTo>
                      <a:pt x="3088" y="4254"/>
                    </a:lnTo>
                    <a:lnTo>
                      <a:pt x="3058" y="4283"/>
                    </a:lnTo>
                    <a:lnTo>
                      <a:pt x="3029" y="4312"/>
                    </a:lnTo>
                    <a:lnTo>
                      <a:pt x="2998" y="4339"/>
                    </a:lnTo>
                    <a:lnTo>
                      <a:pt x="2965" y="4366"/>
                    </a:lnTo>
                    <a:lnTo>
                      <a:pt x="2933" y="4392"/>
                    </a:lnTo>
                    <a:lnTo>
                      <a:pt x="2900" y="4418"/>
                    </a:lnTo>
                    <a:lnTo>
                      <a:pt x="2866" y="4442"/>
                    </a:lnTo>
                    <a:lnTo>
                      <a:pt x="2831" y="4466"/>
                    </a:lnTo>
                    <a:lnTo>
                      <a:pt x="2797" y="4489"/>
                    </a:lnTo>
                    <a:lnTo>
                      <a:pt x="2762" y="4511"/>
                    </a:lnTo>
                    <a:lnTo>
                      <a:pt x="2725" y="4533"/>
                    </a:lnTo>
                    <a:lnTo>
                      <a:pt x="2689" y="4553"/>
                    </a:lnTo>
                    <a:lnTo>
                      <a:pt x="2651" y="4573"/>
                    </a:lnTo>
                    <a:lnTo>
                      <a:pt x="2614" y="4591"/>
                    </a:lnTo>
                    <a:lnTo>
                      <a:pt x="2575" y="4609"/>
                    </a:lnTo>
                    <a:lnTo>
                      <a:pt x="2537" y="4626"/>
                    </a:lnTo>
                    <a:lnTo>
                      <a:pt x="2498" y="4642"/>
                    </a:lnTo>
                    <a:lnTo>
                      <a:pt x="2458" y="4657"/>
                    </a:lnTo>
                    <a:lnTo>
                      <a:pt x="2418" y="4671"/>
                    </a:lnTo>
                    <a:lnTo>
                      <a:pt x="2377" y="4684"/>
                    </a:lnTo>
                    <a:lnTo>
                      <a:pt x="2337" y="4697"/>
                    </a:lnTo>
                    <a:lnTo>
                      <a:pt x="2295" y="4707"/>
                    </a:lnTo>
                    <a:lnTo>
                      <a:pt x="2254" y="4718"/>
                    </a:lnTo>
                    <a:lnTo>
                      <a:pt x="2211" y="4728"/>
                    </a:lnTo>
                    <a:lnTo>
                      <a:pt x="2169" y="4736"/>
                    </a:lnTo>
                    <a:lnTo>
                      <a:pt x="2125" y="4743"/>
                    </a:lnTo>
                    <a:lnTo>
                      <a:pt x="2082" y="4748"/>
                    </a:lnTo>
                    <a:lnTo>
                      <a:pt x="2039" y="4754"/>
                    </a:lnTo>
                    <a:lnTo>
                      <a:pt x="1995" y="4758"/>
                    </a:lnTo>
                    <a:lnTo>
                      <a:pt x="1950" y="4760"/>
                    </a:lnTo>
                    <a:lnTo>
                      <a:pt x="1906" y="4762"/>
                    </a:lnTo>
                    <a:lnTo>
                      <a:pt x="1861" y="4763"/>
                    </a:lnTo>
                    <a:lnTo>
                      <a:pt x="1816" y="4762"/>
                    </a:lnTo>
                    <a:lnTo>
                      <a:pt x="1772" y="4760"/>
                    </a:lnTo>
                    <a:lnTo>
                      <a:pt x="1728" y="4758"/>
                    </a:lnTo>
                    <a:lnTo>
                      <a:pt x="1684" y="4754"/>
                    </a:lnTo>
                    <a:lnTo>
                      <a:pt x="1640" y="4748"/>
                    </a:lnTo>
                    <a:lnTo>
                      <a:pt x="1597" y="4743"/>
                    </a:lnTo>
                    <a:lnTo>
                      <a:pt x="1554" y="4736"/>
                    </a:lnTo>
                    <a:lnTo>
                      <a:pt x="1512" y="4728"/>
                    </a:lnTo>
                    <a:lnTo>
                      <a:pt x="1470" y="4718"/>
                    </a:lnTo>
                    <a:lnTo>
                      <a:pt x="1428" y="4707"/>
                    </a:lnTo>
                    <a:lnTo>
                      <a:pt x="1386" y="4697"/>
                    </a:lnTo>
                    <a:lnTo>
                      <a:pt x="1345" y="4684"/>
                    </a:lnTo>
                    <a:lnTo>
                      <a:pt x="1304" y="4671"/>
                    </a:lnTo>
                    <a:lnTo>
                      <a:pt x="1265" y="4657"/>
                    </a:lnTo>
                    <a:lnTo>
                      <a:pt x="1224" y="4642"/>
                    </a:lnTo>
                    <a:lnTo>
                      <a:pt x="1185" y="4626"/>
                    </a:lnTo>
                    <a:lnTo>
                      <a:pt x="1147" y="4609"/>
                    </a:lnTo>
                    <a:lnTo>
                      <a:pt x="1109" y="4591"/>
                    </a:lnTo>
                    <a:lnTo>
                      <a:pt x="1071" y="4573"/>
                    </a:lnTo>
                    <a:lnTo>
                      <a:pt x="1033" y="4553"/>
                    </a:lnTo>
                    <a:lnTo>
                      <a:pt x="997" y="4533"/>
                    </a:lnTo>
                    <a:lnTo>
                      <a:pt x="962" y="4511"/>
                    </a:lnTo>
                    <a:lnTo>
                      <a:pt x="926" y="4489"/>
                    </a:lnTo>
                    <a:lnTo>
                      <a:pt x="891" y="4466"/>
                    </a:lnTo>
                    <a:lnTo>
                      <a:pt x="856" y="4442"/>
                    </a:lnTo>
                    <a:lnTo>
                      <a:pt x="824" y="4418"/>
                    </a:lnTo>
                    <a:lnTo>
                      <a:pt x="790" y="4392"/>
                    </a:lnTo>
                    <a:lnTo>
                      <a:pt x="757" y="4366"/>
                    </a:lnTo>
                    <a:lnTo>
                      <a:pt x="726" y="4339"/>
                    </a:lnTo>
                    <a:lnTo>
                      <a:pt x="695" y="4312"/>
                    </a:lnTo>
                    <a:lnTo>
                      <a:pt x="664" y="4283"/>
                    </a:lnTo>
                    <a:lnTo>
                      <a:pt x="634" y="4254"/>
                    </a:lnTo>
                    <a:lnTo>
                      <a:pt x="605" y="4224"/>
                    </a:lnTo>
                    <a:lnTo>
                      <a:pt x="577" y="4194"/>
                    </a:lnTo>
                    <a:lnTo>
                      <a:pt x="549" y="4163"/>
                    </a:lnTo>
                    <a:lnTo>
                      <a:pt x="523" y="4130"/>
                    </a:lnTo>
                    <a:lnTo>
                      <a:pt x="496" y="4098"/>
                    </a:lnTo>
                    <a:lnTo>
                      <a:pt x="470" y="4065"/>
                    </a:lnTo>
                    <a:lnTo>
                      <a:pt x="446" y="4031"/>
                    </a:lnTo>
                    <a:lnTo>
                      <a:pt x="423" y="3998"/>
                    </a:lnTo>
                    <a:lnTo>
                      <a:pt x="400" y="3962"/>
                    </a:lnTo>
                    <a:lnTo>
                      <a:pt x="377" y="3927"/>
                    </a:lnTo>
                    <a:lnTo>
                      <a:pt x="356" y="3891"/>
                    </a:lnTo>
                    <a:lnTo>
                      <a:pt x="336" y="3854"/>
                    </a:lnTo>
                    <a:lnTo>
                      <a:pt x="316" y="3817"/>
                    </a:lnTo>
                    <a:lnTo>
                      <a:pt x="297" y="3780"/>
                    </a:lnTo>
                    <a:lnTo>
                      <a:pt x="279" y="3742"/>
                    </a:lnTo>
                    <a:lnTo>
                      <a:pt x="263" y="3702"/>
                    </a:lnTo>
                    <a:lnTo>
                      <a:pt x="247" y="3663"/>
                    </a:lnTo>
                    <a:lnTo>
                      <a:pt x="232" y="3624"/>
                    </a:lnTo>
                    <a:lnTo>
                      <a:pt x="217" y="3583"/>
                    </a:lnTo>
                    <a:lnTo>
                      <a:pt x="205" y="3542"/>
                    </a:lnTo>
                    <a:lnTo>
                      <a:pt x="192" y="3502"/>
                    </a:lnTo>
                    <a:lnTo>
                      <a:pt x="180" y="3461"/>
                    </a:lnTo>
                    <a:lnTo>
                      <a:pt x="171" y="3419"/>
                    </a:lnTo>
                    <a:lnTo>
                      <a:pt x="161" y="3377"/>
                    </a:lnTo>
                    <a:lnTo>
                      <a:pt x="153" y="3334"/>
                    </a:lnTo>
                    <a:lnTo>
                      <a:pt x="146" y="3292"/>
                    </a:lnTo>
                    <a:lnTo>
                      <a:pt x="140" y="3248"/>
                    </a:lnTo>
                    <a:lnTo>
                      <a:pt x="135" y="3204"/>
                    </a:lnTo>
                    <a:lnTo>
                      <a:pt x="131" y="3160"/>
                    </a:lnTo>
                    <a:lnTo>
                      <a:pt x="129" y="3116"/>
                    </a:lnTo>
                    <a:lnTo>
                      <a:pt x="126" y="3072"/>
                    </a:lnTo>
                    <a:lnTo>
                      <a:pt x="126" y="3026"/>
                    </a:lnTo>
                    <a:lnTo>
                      <a:pt x="126" y="2988"/>
                    </a:lnTo>
                    <a:lnTo>
                      <a:pt x="127" y="2949"/>
                    </a:lnTo>
                    <a:lnTo>
                      <a:pt x="130" y="2911"/>
                    </a:lnTo>
                    <a:lnTo>
                      <a:pt x="133" y="2872"/>
                    </a:lnTo>
                    <a:lnTo>
                      <a:pt x="137" y="2834"/>
                    </a:lnTo>
                    <a:lnTo>
                      <a:pt x="141" y="2796"/>
                    </a:lnTo>
                    <a:lnTo>
                      <a:pt x="146" y="2758"/>
                    </a:lnTo>
                    <a:lnTo>
                      <a:pt x="153" y="2722"/>
                    </a:lnTo>
                    <a:lnTo>
                      <a:pt x="160" y="2684"/>
                    </a:lnTo>
                    <a:lnTo>
                      <a:pt x="168" y="2647"/>
                    </a:lnTo>
                    <a:lnTo>
                      <a:pt x="176" y="2610"/>
                    </a:lnTo>
                    <a:lnTo>
                      <a:pt x="186" y="2575"/>
                    </a:lnTo>
                    <a:lnTo>
                      <a:pt x="206" y="2503"/>
                    </a:lnTo>
                    <a:lnTo>
                      <a:pt x="230" y="2433"/>
                    </a:lnTo>
                    <a:lnTo>
                      <a:pt x="0" y="2100"/>
                    </a:lnTo>
                    <a:lnTo>
                      <a:pt x="511" y="1382"/>
                    </a:lnTo>
                    <a:lnTo>
                      <a:pt x="1583" y="2931"/>
                    </a:lnTo>
                    <a:lnTo>
                      <a:pt x="2498" y="1647"/>
                    </a:lnTo>
                    <a:lnTo>
                      <a:pt x="2461" y="1631"/>
                    </a:lnTo>
                    <a:lnTo>
                      <a:pt x="2425" y="1616"/>
                    </a:lnTo>
                    <a:lnTo>
                      <a:pt x="2387" y="1601"/>
                    </a:lnTo>
                    <a:lnTo>
                      <a:pt x="2349" y="1588"/>
                    </a:lnTo>
                    <a:lnTo>
                      <a:pt x="2309" y="1575"/>
                    </a:lnTo>
                    <a:lnTo>
                      <a:pt x="2272" y="1565"/>
                    </a:lnTo>
                    <a:lnTo>
                      <a:pt x="2232" y="1554"/>
                    </a:lnTo>
                    <a:lnTo>
                      <a:pt x="2192" y="1544"/>
                    </a:lnTo>
                    <a:lnTo>
                      <a:pt x="2152" y="1536"/>
                    </a:lnTo>
                    <a:lnTo>
                      <a:pt x="2112" y="1528"/>
                    </a:lnTo>
                    <a:lnTo>
                      <a:pt x="2071" y="1523"/>
                    </a:lnTo>
                    <a:lnTo>
                      <a:pt x="2029" y="1517"/>
                    </a:lnTo>
                    <a:lnTo>
                      <a:pt x="1988" y="1513"/>
                    </a:lnTo>
                    <a:lnTo>
                      <a:pt x="1946" y="1510"/>
                    </a:lnTo>
                    <a:lnTo>
                      <a:pt x="1904" y="1509"/>
                    </a:lnTo>
                    <a:lnTo>
                      <a:pt x="1861" y="1508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28" name="Прямоугольник 4097"/>
            <p:cNvSpPr>
              <a:spLocks noChangeArrowheads="1"/>
            </p:cNvSpPr>
            <p:nvPr/>
          </p:nvSpPr>
          <p:spPr bwMode="auto">
            <a:xfrm>
              <a:off x="161412" y="2888928"/>
              <a:ext cx="900120" cy="12601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marL="342900" indent="-34290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</a:pPr>
              <a:endParaRPr lang="ru-RU" altLang="ru-RU" sz="1600">
                <a:solidFill>
                  <a:schemeClr val="tx1"/>
                </a:solidFill>
              </a:endParaRPr>
            </a:p>
          </p:txBody>
        </p:sp>
      </p:grpSp>
      <p:sp>
        <p:nvSpPr>
          <p:cNvPr id="32" name="Блок-схема: документ 31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33" name="Блок-схема: документ 32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34" name="Блок-схема: документ 33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36" name="Блок-схема: документ 35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Реестр платежей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Обмен с банками</a:t>
            </a:r>
          </a:p>
        </p:txBody>
      </p:sp>
      <p:sp>
        <p:nvSpPr>
          <p:cNvPr id="40" name="Блок-схема: документ 39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азнесение выписки</a:t>
            </a:r>
          </a:p>
        </p:txBody>
      </p:sp>
      <p:cxnSp>
        <p:nvCxnSpPr>
          <p:cNvPr id="50" name="Прямая со стрелкой 4"/>
          <p:cNvCxnSpPr>
            <a:stCxn id="32" idx="3"/>
            <a:endCxn id="60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33" idx="3"/>
            <a:endCxn id="60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4"/>
          <p:cNvCxnSpPr>
            <a:stCxn id="34" idx="3"/>
            <a:endCxn id="37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4"/>
          <p:cNvCxnSpPr>
            <a:stCxn id="37" idx="3"/>
            <a:endCxn id="36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4"/>
          <p:cNvCxnSpPr>
            <a:stCxn id="36" idx="2"/>
            <a:endCxn id="40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4"/>
          <p:cNvCxnSpPr>
            <a:stCxn id="40" idx="1"/>
            <a:endCxn id="39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4"/>
          <p:cNvCxnSpPr>
            <a:stCxn id="39" idx="1"/>
            <a:endCxn id="41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4"/>
          <p:cNvCxnSpPr>
            <a:stCxn id="41" idx="1"/>
            <a:endCxn id="45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Блок-схема: документ 57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59" name="Прямая со стрелкой 4"/>
          <p:cNvCxnSpPr>
            <a:stCxn id="58" idx="3"/>
            <a:endCxn id="37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61" name="Прямая со стрелкой 4"/>
          <p:cNvCxnSpPr>
            <a:stCxn id="60" idx="6"/>
            <a:endCxn id="34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4"/>
          <p:cNvCxnSpPr>
            <a:stCxn id="60" idx="6"/>
            <a:endCxn id="58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861575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6335962"/>
              </p:ext>
            </p:extLst>
          </p:nvPr>
        </p:nvGraphicFramePr>
        <p:xfrm>
          <a:off x="408955" y="1341562"/>
          <a:ext cx="10873208" cy="5414909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7397"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ы с поставщиками и клиентам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ы кредитов, займов, депози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од графиков кредитов, займов, депози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 графиков кредитов, займов, депозитов по фиксированным ставк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 графиков кредитов, займов, депозитов по плавающим ставк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грузка графиков расчетов из табличного документ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од дополнительных соглашений к договорам с возможностью согласова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уализация графика расчетов по фактическим данны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хранение аудиторского следа при ручных корректировках графи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равки о подтверждающих документа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110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 сроков репатриации</a:t>
                      </a:r>
                      <a:r>
                        <a:rPr lang="ru-RU" sz="1400" baseline="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алюты</a:t>
                      </a:r>
                      <a:endParaRPr lang="ru-RU" sz="1400" dirty="0">
                        <a:solidFill>
                          <a:srgbClr val="8080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ы аккредитивов, банковских гаранти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ы валютных, процентно-валютных свопов, валютных форвард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7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говоры аренды, лизинг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матическое </a:t>
                      </a:r>
                      <a:r>
                        <a:rPr lang="ru-RU" sz="14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калирование</a:t>
                      </a:r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нутригрупповых договор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44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е </a:t>
                      </a:r>
                      <a:r>
                        <a:rPr lang="ru-RU" sz="1400" b="0" i="0" u="none" strike="noStrike" dirty="0" err="1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венантами</a:t>
                      </a:r>
                      <a:endParaRPr lang="ru-RU" sz="1400" b="0" i="0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5" name="Freeform 67"/>
          <p:cNvSpPr>
            <a:spLocks noChangeAspect="1"/>
          </p:cNvSpPr>
          <p:nvPr/>
        </p:nvSpPr>
        <p:spPr bwMode="auto">
          <a:xfrm>
            <a:off x="8329835" y="17433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202043" y="17433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20592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197627" y="23752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1" name="Freeform 67"/>
          <p:cNvSpPr>
            <a:spLocks noChangeAspect="1"/>
          </p:cNvSpPr>
          <p:nvPr/>
        </p:nvSpPr>
        <p:spPr bwMode="auto">
          <a:xfrm>
            <a:off x="8329835" y="235769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26911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30070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4" name="Freeform 67"/>
          <p:cNvSpPr>
            <a:spLocks noChangeAspect="1"/>
          </p:cNvSpPr>
          <p:nvPr/>
        </p:nvSpPr>
        <p:spPr bwMode="auto">
          <a:xfrm>
            <a:off x="8329835" y="332300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332300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197627" y="363893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395486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4" name="Freeform 67"/>
          <p:cNvSpPr>
            <a:spLocks noChangeAspect="1"/>
          </p:cNvSpPr>
          <p:nvPr/>
        </p:nvSpPr>
        <p:spPr bwMode="auto">
          <a:xfrm>
            <a:off x="10197627" y="458672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5" name="Freeform 67"/>
          <p:cNvSpPr>
            <a:spLocks noChangeAspect="1"/>
          </p:cNvSpPr>
          <p:nvPr/>
        </p:nvSpPr>
        <p:spPr bwMode="auto">
          <a:xfrm>
            <a:off x="10197627" y="490265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6" name="Freeform 67"/>
          <p:cNvSpPr>
            <a:spLocks noChangeAspect="1"/>
          </p:cNvSpPr>
          <p:nvPr/>
        </p:nvSpPr>
        <p:spPr bwMode="auto">
          <a:xfrm>
            <a:off x="8329835" y="4585376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7" name="Freeform 67"/>
          <p:cNvSpPr>
            <a:spLocks noChangeAspect="1"/>
          </p:cNvSpPr>
          <p:nvPr/>
        </p:nvSpPr>
        <p:spPr bwMode="auto">
          <a:xfrm>
            <a:off x="10197627" y="52185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8" name="Freeform 67"/>
          <p:cNvSpPr>
            <a:spLocks noChangeAspect="1"/>
          </p:cNvSpPr>
          <p:nvPr/>
        </p:nvSpPr>
        <p:spPr bwMode="auto">
          <a:xfrm>
            <a:off x="10197627" y="553451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9" name="Freeform 67"/>
          <p:cNvSpPr>
            <a:spLocks noChangeAspect="1"/>
          </p:cNvSpPr>
          <p:nvPr/>
        </p:nvSpPr>
        <p:spPr bwMode="auto">
          <a:xfrm>
            <a:off x="8329835" y="58504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0" name="Freeform 67"/>
          <p:cNvSpPr>
            <a:spLocks noChangeAspect="1"/>
          </p:cNvSpPr>
          <p:nvPr/>
        </p:nvSpPr>
        <p:spPr bwMode="auto">
          <a:xfrm>
            <a:off x="10197627" y="585044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1" name="Freeform 67"/>
          <p:cNvSpPr>
            <a:spLocks noChangeAspect="1"/>
          </p:cNvSpPr>
          <p:nvPr/>
        </p:nvSpPr>
        <p:spPr bwMode="auto">
          <a:xfrm>
            <a:off x="10197627" y="616637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2" name="Freeform 67"/>
          <p:cNvSpPr>
            <a:spLocks noChangeAspect="1"/>
          </p:cNvSpPr>
          <p:nvPr/>
        </p:nvSpPr>
        <p:spPr bwMode="auto">
          <a:xfrm>
            <a:off x="10197627" y="6482311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3" name="Freeform 67"/>
          <p:cNvSpPr>
            <a:spLocks noChangeAspect="1"/>
          </p:cNvSpPr>
          <p:nvPr/>
        </p:nvSpPr>
        <p:spPr bwMode="auto">
          <a:xfrm>
            <a:off x="10197627" y="427079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34" name="Freeform 67"/>
          <p:cNvSpPr>
            <a:spLocks noChangeAspect="1"/>
          </p:cNvSpPr>
          <p:nvPr/>
        </p:nvSpPr>
        <p:spPr bwMode="auto">
          <a:xfrm>
            <a:off x="8329835" y="20592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539463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7066" y="152436"/>
            <a:ext cx="6434040" cy="1081338"/>
          </a:xfrm>
        </p:spPr>
        <p:txBody>
          <a:bodyPr wrap="square" anchor="ctr">
            <a:normAutofit/>
          </a:bodyPr>
          <a:lstStyle/>
          <a:p>
            <a:r>
              <a:rPr lang="ru-RU" dirty="0" smtClean="0"/>
              <a:t>Сокращение ручного труда пр</a:t>
            </a:r>
            <a:r>
              <a:rPr lang="ru-RU" dirty="0" smtClean="0"/>
              <a:t>и работе</a:t>
            </a:r>
            <a:br>
              <a:rPr lang="ru-RU" dirty="0" smtClean="0"/>
            </a:br>
            <a:r>
              <a:rPr lang="ru-RU" dirty="0" smtClean="0"/>
              <a:t>с</a:t>
            </a:r>
            <a:r>
              <a:rPr lang="ru-RU" dirty="0" smtClean="0"/>
              <a:t> реестрами </a:t>
            </a:r>
            <a:r>
              <a:rPr lang="ru-RU" dirty="0"/>
              <a:t>платежей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479664" y="2061326"/>
            <a:ext cx="2909706" cy="3332352"/>
            <a:chOff x="623392" y="1556792"/>
            <a:chExt cx="3726410" cy="4267685"/>
          </a:xfrm>
        </p:grpSpPr>
        <p:sp>
          <p:nvSpPr>
            <p:cNvPr id="5" name="Полилиния: фигура 4">
              <a:extLst>
                <a:ext uri="{FF2B5EF4-FFF2-40B4-BE49-F238E27FC236}">
                  <a16:creationId xmlns:a16="http://schemas.microsoft.com/office/drawing/2014/main" id="{7E49CE14-81E2-4E87-87B8-3CFB36E8D5AA}"/>
                </a:ext>
              </a:extLst>
            </p:cNvPr>
            <p:cNvSpPr/>
            <p:nvPr/>
          </p:nvSpPr>
          <p:spPr>
            <a:xfrm>
              <a:off x="2373789" y="2761341"/>
              <a:ext cx="219008" cy="219008"/>
            </a:xfrm>
            <a:custGeom>
              <a:avLst/>
              <a:gdLst>
                <a:gd name="connsiteX0" fmla="*/ 219009 w 219008"/>
                <a:gd name="connsiteY0" fmla="*/ 109504 h 219008"/>
                <a:gd name="connsiteX1" fmla="*/ 109504 w 219008"/>
                <a:gd name="connsiteY1" fmla="*/ 219009 h 219008"/>
                <a:gd name="connsiteX2" fmla="*/ 0 w 219008"/>
                <a:gd name="connsiteY2" fmla="*/ 109504 h 219008"/>
                <a:gd name="connsiteX3" fmla="*/ 109504 w 219008"/>
                <a:gd name="connsiteY3" fmla="*/ 0 h 219008"/>
                <a:gd name="connsiteX4" fmla="*/ 219009 w 219008"/>
                <a:gd name="connsiteY4" fmla="*/ 109504 h 21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08" h="219008">
                  <a:moveTo>
                    <a:pt x="219009" y="109504"/>
                  </a:moveTo>
                  <a:cubicBezTo>
                    <a:pt x="219009" y="169982"/>
                    <a:pt x="169982" y="219009"/>
                    <a:pt x="109504" y="219009"/>
                  </a:cubicBezTo>
                  <a:cubicBezTo>
                    <a:pt x="49027" y="219009"/>
                    <a:pt x="0" y="169982"/>
                    <a:pt x="0" y="109504"/>
                  </a:cubicBezTo>
                  <a:cubicBezTo>
                    <a:pt x="0" y="49027"/>
                    <a:pt x="49027" y="0"/>
                    <a:pt x="109504" y="0"/>
                  </a:cubicBezTo>
                  <a:cubicBezTo>
                    <a:pt x="169982" y="0"/>
                    <a:pt x="219009" y="49027"/>
                    <a:pt x="219009" y="109504"/>
                  </a:cubicBezTo>
                  <a:close/>
                </a:path>
              </a:pathLst>
            </a:custGeom>
            <a:solidFill>
              <a:srgbClr val="808080"/>
            </a:solidFill>
            <a:ln w="54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26502E7F-983C-400A-992C-CDB5AF452F7B}"/>
                </a:ext>
              </a:extLst>
            </p:cNvPr>
            <p:cNvSpPr/>
            <p:nvPr/>
          </p:nvSpPr>
          <p:spPr>
            <a:xfrm>
              <a:off x="2373789" y="4951429"/>
              <a:ext cx="219008" cy="219008"/>
            </a:xfrm>
            <a:custGeom>
              <a:avLst/>
              <a:gdLst>
                <a:gd name="connsiteX0" fmla="*/ 219009 w 219008"/>
                <a:gd name="connsiteY0" fmla="*/ 109504 h 219008"/>
                <a:gd name="connsiteX1" fmla="*/ 109504 w 219008"/>
                <a:gd name="connsiteY1" fmla="*/ 219009 h 219008"/>
                <a:gd name="connsiteX2" fmla="*/ 0 w 219008"/>
                <a:gd name="connsiteY2" fmla="*/ 109504 h 219008"/>
                <a:gd name="connsiteX3" fmla="*/ 109504 w 219008"/>
                <a:gd name="connsiteY3" fmla="*/ 0 h 219008"/>
                <a:gd name="connsiteX4" fmla="*/ 219009 w 219008"/>
                <a:gd name="connsiteY4" fmla="*/ 109504 h 21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08" h="219008">
                  <a:moveTo>
                    <a:pt x="219009" y="109504"/>
                  </a:moveTo>
                  <a:cubicBezTo>
                    <a:pt x="219009" y="169982"/>
                    <a:pt x="169982" y="219009"/>
                    <a:pt x="109504" y="219009"/>
                  </a:cubicBezTo>
                  <a:cubicBezTo>
                    <a:pt x="49027" y="219009"/>
                    <a:pt x="0" y="169982"/>
                    <a:pt x="0" y="109504"/>
                  </a:cubicBezTo>
                  <a:cubicBezTo>
                    <a:pt x="0" y="49027"/>
                    <a:pt x="49027" y="0"/>
                    <a:pt x="109504" y="0"/>
                  </a:cubicBezTo>
                  <a:cubicBezTo>
                    <a:pt x="169982" y="0"/>
                    <a:pt x="219009" y="49027"/>
                    <a:pt x="219009" y="109504"/>
                  </a:cubicBezTo>
                  <a:close/>
                </a:path>
              </a:pathLst>
            </a:custGeom>
            <a:solidFill>
              <a:srgbClr val="808080"/>
            </a:solidFill>
            <a:ln w="54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067ECEE7-5B18-422B-99D9-AED7F6069066}"/>
                </a:ext>
              </a:extLst>
            </p:cNvPr>
            <p:cNvSpPr/>
            <p:nvPr/>
          </p:nvSpPr>
          <p:spPr>
            <a:xfrm>
              <a:off x="3468833" y="3801633"/>
              <a:ext cx="219008" cy="219008"/>
            </a:xfrm>
            <a:custGeom>
              <a:avLst/>
              <a:gdLst>
                <a:gd name="connsiteX0" fmla="*/ 219009 w 219008"/>
                <a:gd name="connsiteY0" fmla="*/ 109504 h 219008"/>
                <a:gd name="connsiteX1" fmla="*/ 109504 w 219008"/>
                <a:gd name="connsiteY1" fmla="*/ 219009 h 219008"/>
                <a:gd name="connsiteX2" fmla="*/ 0 w 219008"/>
                <a:gd name="connsiteY2" fmla="*/ 109504 h 219008"/>
                <a:gd name="connsiteX3" fmla="*/ 109504 w 219008"/>
                <a:gd name="connsiteY3" fmla="*/ 0 h 219008"/>
                <a:gd name="connsiteX4" fmla="*/ 219009 w 219008"/>
                <a:gd name="connsiteY4" fmla="*/ 109504 h 21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08" h="219008">
                  <a:moveTo>
                    <a:pt x="219009" y="109504"/>
                  </a:moveTo>
                  <a:cubicBezTo>
                    <a:pt x="219009" y="169982"/>
                    <a:pt x="169982" y="219009"/>
                    <a:pt x="109504" y="219009"/>
                  </a:cubicBezTo>
                  <a:cubicBezTo>
                    <a:pt x="49027" y="219009"/>
                    <a:pt x="0" y="169982"/>
                    <a:pt x="0" y="109504"/>
                  </a:cubicBezTo>
                  <a:cubicBezTo>
                    <a:pt x="0" y="49027"/>
                    <a:pt x="49027" y="0"/>
                    <a:pt x="109504" y="0"/>
                  </a:cubicBezTo>
                  <a:cubicBezTo>
                    <a:pt x="169982" y="0"/>
                    <a:pt x="219009" y="49027"/>
                    <a:pt x="219009" y="109504"/>
                  </a:cubicBezTo>
                  <a:close/>
                </a:path>
              </a:pathLst>
            </a:custGeom>
            <a:solidFill>
              <a:srgbClr val="808080"/>
            </a:solidFill>
            <a:ln w="54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F70EBA04-1458-4808-854B-F8FD9FC4AC48}"/>
                </a:ext>
              </a:extLst>
            </p:cNvPr>
            <p:cNvSpPr/>
            <p:nvPr/>
          </p:nvSpPr>
          <p:spPr>
            <a:xfrm>
              <a:off x="1278745" y="3801633"/>
              <a:ext cx="219008" cy="219008"/>
            </a:xfrm>
            <a:custGeom>
              <a:avLst/>
              <a:gdLst>
                <a:gd name="connsiteX0" fmla="*/ 219009 w 219008"/>
                <a:gd name="connsiteY0" fmla="*/ 109504 h 219008"/>
                <a:gd name="connsiteX1" fmla="*/ 109504 w 219008"/>
                <a:gd name="connsiteY1" fmla="*/ 219009 h 219008"/>
                <a:gd name="connsiteX2" fmla="*/ 0 w 219008"/>
                <a:gd name="connsiteY2" fmla="*/ 109504 h 219008"/>
                <a:gd name="connsiteX3" fmla="*/ 109504 w 219008"/>
                <a:gd name="connsiteY3" fmla="*/ 0 h 219008"/>
                <a:gd name="connsiteX4" fmla="*/ 219009 w 219008"/>
                <a:gd name="connsiteY4" fmla="*/ 109504 h 219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08" h="219008">
                  <a:moveTo>
                    <a:pt x="219009" y="109504"/>
                  </a:moveTo>
                  <a:cubicBezTo>
                    <a:pt x="219009" y="169982"/>
                    <a:pt x="169982" y="219009"/>
                    <a:pt x="109504" y="219009"/>
                  </a:cubicBezTo>
                  <a:cubicBezTo>
                    <a:pt x="49027" y="219009"/>
                    <a:pt x="0" y="169982"/>
                    <a:pt x="0" y="109504"/>
                  </a:cubicBezTo>
                  <a:cubicBezTo>
                    <a:pt x="0" y="49027"/>
                    <a:pt x="49027" y="0"/>
                    <a:pt x="109504" y="0"/>
                  </a:cubicBezTo>
                  <a:cubicBezTo>
                    <a:pt x="169982" y="0"/>
                    <a:pt x="219009" y="49027"/>
                    <a:pt x="219009" y="109504"/>
                  </a:cubicBezTo>
                  <a:close/>
                </a:path>
              </a:pathLst>
            </a:custGeom>
            <a:solidFill>
              <a:srgbClr val="808080"/>
            </a:solidFill>
            <a:ln w="54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3141C91B-6261-4EDC-B664-398B52339525}"/>
                </a:ext>
              </a:extLst>
            </p:cNvPr>
            <p:cNvSpPr/>
            <p:nvPr/>
          </p:nvSpPr>
          <p:spPr>
            <a:xfrm>
              <a:off x="2373789" y="3144606"/>
              <a:ext cx="728204" cy="1385230"/>
            </a:xfrm>
            <a:custGeom>
              <a:avLst/>
              <a:gdLst>
                <a:gd name="connsiteX0" fmla="*/ 219009 w 728204"/>
                <a:gd name="connsiteY0" fmla="*/ 0 h 1385230"/>
                <a:gd name="connsiteX1" fmla="*/ 0 w 728204"/>
                <a:gd name="connsiteY1" fmla="*/ 0 h 1385230"/>
                <a:gd name="connsiteX2" fmla="*/ 0 w 728204"/>
                <a:gd name="connsiteY2" fmla="*/ 766531 h 1385230"/>
                <a:gd name="connsiteX3" fmla="*/ 32851 w 728204"/>
                <a:gd name="connsiteY3" fmla="*/ 843184 h 1385230"/>
                <a:gd name="connsiteX4" fmla="*/ 574898 w 728204"/>
                <a:gd name="connsiteY4" fmla="*/ 1385231 h 1385230"/>
                <a:gd name="connsiteX5" fmla="*/ 728204 w 728204"/>
                <a:gd name="connsiteY5" fmla="*/ 1231925 h 1385230"/>
                <a:gd name="connsiteX6" fmla="*/ 219009 w 728204"/>
                <a:gd name="connsiteY6" fmla="*/ 722729 h 1385230"/>
                <a:gd name="connsiteX7" fmla="*/ 219009 w 728204"/>
                <a:gd name="connsiteY7" fmla="*/ 0 h 138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8204" h="1385230">
                  <a:moveTo>
                    <a:pt x="219009" y="0"/>
                  </a:moveTo>
                  <a:lnTo>
                    <a:pt x="0" y="0"/>
                  </a:lnTo>
                  <a:lnTo>
                    <a:pt x="0" y="766531"/>
                  </a:lnTo>
                  <a:cubicBezTo>
                    <a:pt x="0" y="793907"/>
                    <a:pt x="10950" y="821283"/>
                    <a:pt x="32851" y="843184"/>
                  </a:cubicBezTo>
                  <a:lnTo>
                    <a:pt x="574898" y="1385231"/>
                  </a:lnTo>
                  <a:lnTo>
                    <a:pt x="728204" y="1231925"/>
                  </a:lnTo>
                  <a:lnTo>
                    <a:pt x="219009" y="722729"/>
                  </a:lnTo>
                  <a:lnTo>
                    <a:pt x="219009" y="0"/>
                  </a:lnTo>
                  <a:close/>
                </a:path>
              </a:pathLst>
            </a:custGeom>
            <a:solidFill>
              <a:srgbClr val="808080"/>
            </a:solidFill>
            <a:ln w="54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80E9BE74-E15E-49B3-AC4D-29ABC3CCB106}"/>
                </a:ext>
              </a:extLst>
            </p:cNvPr>
            <p:cNvSpPr/>
            <p:nvPr/>
          </p:nvSpPr>
          <p:spPr>
            <a:xfrm>
              <a:off x="623392" y="1556792"/>
              <a:ext cx="3726410" cy="4267685"/>
            </a:xfrm>
            <a:custGeom>
              <a:avLst/>
              <a:gdLst>
                <a:gd name="connsiteX0" fmla="*/ 1859901 w 3726410"/>
                <a:gd name="connsiteY0" fmla="*/ 3942159 h 4267685"/>
                <a:gd name="connsiteX1" fmla="*/ 326839 w 3726410"/>
                <a:gd name="connsiteY1" fmla="*/ 2409097 h 4267685"/>
                <a:gd name="connsiteX2" fmla="*/ 1859901 w 3726410"/>
                <a:gd name="connsiteY2" fmla="*/ 876035 h 4267685"/>
                <a:gd name="connsiteX3" fmla="*/ 3392963 w 3726410"/>
                <a:gd name="connsiteY3" fmla="*/ 2409097 h 4267685"/>
                <a:gd name="connsiteX4" fmla="*/ 1859901 w 3726410"/>
                <a:gd name="connsiteY4" fmla="*/ 3942159 h 4267685"/>
                <a:gd name="connsiteX5" fmla="*/ 1859901 w 3726410"/>
                <a:gd name="connsiteY5" fmla="*/ 3942159 h 4267685"/>
                <a:gd name="connsiteX6" fmla="*/ 3157528 w 3726410"/>
                <a:gd name="connsiteY6" fmla="*/ 1073143 h 4267685"/>
                <a:gd name="connsiteX7" fmla="*/ 3321785 w 3726410"/>
                <a:gd name="connsiteY7" fmla="*/ 908887 h 4267685"/>
                <a:gd name="connsiteX8" fmla="*/ 3316310 w 3726410"/>
                <a:gd name="connsiteY8" fmla="*/ 678927 h 4267685"/>
                <a:gd name="connsiteX9" fmla="*/ 3086351 w 3726410"/>
                <a:gd name="connsiteY9" fmla="*/ 673452 h 4267685"/>
                <a:gd name="connsiteX10" fmla="*/ 2900193 w 3726410"/>
                <a:gd name="connsiteY10" fmla="*/ 865085 h 4267685"/>
                <a:gd name="connsiteX11" fmla="*/ 2024158 w 3726410"/>
                <a:gd name="connsiteY11" fmla="*/ 558473 h 4267685"/>
                <a:gd name="connsiteX12" fmla="*/ 2024158 w 3726410"/>
                <a:gd name="connsiteY12" fmla="*/ 328513 h 4267685"/>
                <a:gd name="connsiteX13" fmla="*/ 2516928 w 3726410"/>
                <a:gd name="connsiteY13" fmla="*/ 328513 h 4267685"/>
                <a:gd name="connsiteX14" fmla="*/ 2516928 w 3726410"/>
                <a:gd name="connsiteY14" fmla="*/ 0 h 4267685"/>
                <a:gd name="connsiteX15" fmla="*/ 1202875 w 3726410"/>
                <a:gd name="connsiteY15" fmla="*/ 0 h 4267685"/>
                <a:gd name="connsiteX16" fmla="*/ 1202875 w 3726410"/>
                <a:gd name="connsiteY16" fmla="*/ 328513 h 4267685"/>
                <a:gd name="connsiteX17" fmla="*/ 1695645 w 3726410"/>
                <a:gd name="connsiteY17" fmla="*/ 328513 h 4267685"/>
                <a:gd name="connsiteX18" fmla="*/ 1695645 w 3726410"/>
                <a:gd name="connsiteY18" fmla="*/ 552997 h 4267685"/>
                <a:gd name="connsiteX19" fmla="*/ 14752 w 3726410"/>
                <a:gd name="connsiteY19" fmla="*/ 2173663 h 4267685"/>
                <a:gd name="connsiteX20" fmla="*/ 1241201 w 3726410"/>
                <a:gd name="connsiteY20" fmla="*/ 4161168 h 4267685"/>
                <a:gd name="connsiteX21" fmla="*/ 3447715 w 3726410"/>
                <a:gd name="connsiteY21" fmla="*/ 3389162 h 4267685"/>
                <a:gd name="connsiteX22" fmla="*/ 3157528 w 3726410"/>
                <a:gd name="connsiteY22" fmla="*/ 1073143 h 4267685"/>
                <a:gd name="connsiteX23" fmla="*/ 3157528 w 3726410"/>
                <a:gd name="connsiteY23" fmla="*/ 1073143 h 426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726410" h="4267685">
                  <a:moveTo>
                    <a:pt x="1859901" y="3942159"/>
                  </a:moveTo>
                  <a:cubicBezTo>
                    <a:pt x="1011242" y="3942159"/>
                    <a:pt x="326839" y="3257757"/>
                    <a:pt x="326839" y="2409097"/>
                  </a:cubicBezTo>
                  <a:cubicBezTo>
                    <a:pt x="326839" y="1560438"/>
                    <a:pt x="1011242" y="876035"/>
                    <a:pt x="1859901" y="876035"/>
                  </a:cubicBezTo>
                  <a:cubicBezTo>
                    <a:pt x="2708560" y="876035"/>
                    <a:pt x="3392963" y="1560438"/>
                    <a:pt x="3392963" y="2409097"/>
                  </a:cubicBezTo>
                  <a:cubicBezTo>
                    <a:pt x="3392963" y="3257757"/>
                    <a:pt x="2708560" y="3942159"/>
                    <a:pt x="1859901" y="3942159"/>
                  </a:cubicBezTo>
                  <a:lnTo>
                    <a:pt x="1859901" y="3942159"/>
                  </a:lnTo>
                  <a:close/>
                  <a:moveTo>
                    <a:pt x="3157528" y="1073143"/>
                  </a:moveTo>
                  <a:lnTo>
                    <a:pt x="3321785" y="908887"/>
                  </a:lnTo>
                  <a:cubicBezTo>
                    <a:pt x="3382013" y="843184"/>
                    <a:pt x="3382013" y="744630"/>
                    <a:pt x="3316310" y="678927"/>
                  </a:cubicBezTo>
                  <a:cubicBezTo>
                    <a:pt x="3256083" y="618700"/>
                    <a:pt x="3152053" y="613225"/>
                    <a:pt x="3086351" y="673452"/>
                  </a:cubicBezTo>
                  <a:lnTo>
                    <a:pt x="2900193" y="865085"/>
                  </a:lnTo>
                  <a:cubicBezTo>
                    <a:pt x="2637383" y="689878"/>
                    <a:pt x="2336246" y="580373"/>
                    <a:pt x="2024158" y="558473"/>
                  </a:cubicBezTo>
                  <a:lnTo>
                    <a:pt x="2024158" y="328513"/>
                  </a:lnTo>
                  <a:lnTo>
                    <a:pt x="2516928" y="328513"/>
                  </a:lnTo>
                  <a:lnTo>
                    <a:pt x="2516928" y="0"/>
                  </a:lnTo>
                  <a:lnTo>
                    <a:pt x="1202875" y="0"/>
                  </a:lnTo>
                  <a:lnTo>
                    <a:pt x="1202875" y="328513"/>
                  </a:lnTo>
                  <a:lnTo>
                    <a:pt x="1695645" y="328513"/>
                  </a:lnTo>
                  <a:lnTo>
                    <a:pt x="1695645" y="552997"/>
                  </a:lnTo>
                  <a:cubicBezTo>
                    <a:pt x="825084" y="629650"/>
                    <a:pt x="124256" y="1303103"/>
                    <a:pt x="14752" y="2173663"/>
                  </a:cubicBezTo>
                  <a:cubicBezTo>
                    <a:pt x="-94753" y="3044223"/>
                    <a:pt x="414443" y="3870981"/>
                    <a:pt x="1241201" y="4161168"/>
                  </a:cubicBezTo>
                  <a:cubicBezTo>
                    <a:pt x="2067960" y="4451355"/>
                    <a:pt x="2982322" y="4133792"/>
                    <a:pt x="3447715" y="3389162"/>
                  </a:cubicBezTo>
                  <a:cubicBezTo>
                    <a:pt x="3913109" y="2644532"/>
                    <a:pt x="3781704" y="1680893"/>
                    <a:pt x="3157528" y="1073143"/>
                  </a:cubicBezTo>
                  <a:lnTo>
                    <a:pt x="3157528" y="1073143"/>
                  </a:lnTo>
                  <a:close/>
                </a:path>
              </a:pathLst>
            </a:custGeom>
            <a:solidFill>
              <a:srgbClr val="808080"/>
            </a:solidFill>
            <a:ln w="54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F24CDBE-0F97-4387-B484-C1DA31774F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85069" y="1917648"/>
            <a:ext cx="6986393" cy="5257429"/>
          </a:xfrm>
        </p:spPr>
        <p:txBody>
          <a:bodyPr/>
          <a:lstStyle/>
          <a:p>
            <a:r>
              <a:rPr lang="ru-RU" dirty="0"/>
              <a:t>Формирование реестров по расписанию</a:t>
            </a:r>
          </a:p>
          <a:p>
            <a:r>
              <a:rPr lang="ru-RU" dirty="0"/>
              <a:t>Автоматическое создание платежных поручений при утверждении реестра</a:t>
            </a:r>
          </a:p>
          <a:p>
            <a:r>
              <a:rPr lang="ru-RU" dirty="0"/>
              <a:t>Возможность исключить позицию из уже утвержденного реестра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0994572" y="6599178"/>
            <a:ext cx="1022586" cy="260410"/>
          </a:xfrm>
        </p:spPr>
        <p:txBody>
          <a:bodyPr wrap="square" anchor="t">
            <a:normAutofit lnSpcReduction="10000"/>
          </a:bodyPr>
          <a:lstStyle/>
          <a:p>
            <a:pPr>
              <a:spcAft>
                <a:spcPts val="600"/>
              </a:spcAft>
            </a:pPr>
            <a:fld id="{5007AF4B-D67C-4129-86EF-FE2A65D9E95E}" type="slidenum">
              <a:rPr lang="ru-RU" altLang="ru-RU" smtClean="0"/>
              <a:pPr>
                <a:spcAft>
                  <a:spcPts val="600"/>
                </a:spcAft>
              </a:pPr>
              <a:t>9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19236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7066" y="152436"/>
            <a:ext cx="6434040" cy="1081338"/>
          </a:xfrm>
        </p:spPr>
        <p:txBody>
          <a:bodyPr wrap="square" anchor="ctr">
            <a:normAutofit/>
          </a:bodyPr>
          <a:lstStyle/>
          <a:p>
            <a:r>
              <a:rPr lang="ru-RU" dirty="0"/>
              <a:t>Объединение сходных позиций в одно платежное поручение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6794" y="1417235"/>
            <a:ext cx="5851821" cy="5257429"/>
          </a:xfrm>
        </p:spPr>
        <p:txBody>
          <a:bodyPr wrap="square" anchor="t">
            <a:normAutofit/>
          </a:bodyPr>
          <a:lstStyle/>
          <a:p>
            <a:r>
              <a:rPr lang="ru-RU" dirty="0"/>
              <a:t>Требуется совпадение реквизитов:</a:t>
            </a:r>
          </a:p>
          <a:p>
            <a:pPr lvl="1"/>
            <a:r>
              <a:rPr lang="ru-RU" dirty="0"/>
              <a:t>Вид операции</a:t>
            </a:r>
          </a:p>
          <a:p>
            <a:pPr lvl="1"/>
            <a:r>
              <a:rPr lang="ru-RU" dirty="0"/>
              <a:t>Дата</a:t>
            </a:r>
          </a:p>
          <a:p>
            <a:pPr lvl="1"/>
            <a:r>
              <a:rPr lang="ru-RU" dirty="0"/>
              <a:t>Валюта платежа</a:t>
            </a:r>
            <a:endParaRPr lang="ru-RU" dirty="0"/>
          </a:p>
          <a:p>
            <a:pPr lvl="1"/>
            <a:r>
              <a:rPr lang="ru-RU" dirty="0"/>
              <a:t>Организация</a:t>
            </a:r>
          </a:p>
          <a:p>
            <a:pPr lvl="1"/>
            <a:r>
              <a:rPr lang="ru-RU" dirty="0"/>
              <a:t>Контрагент</a:t>
            </a:r>
          </a:p>
          <a:p>
            <a:pPr lvl="1"/>
            <a:r>
              <a:rPr lang="ru-RU" dirty="0"/>
              <a:t>Счет списания</a:t>
            </a:r>
          </a:p>
          <a:p>
            <a:pPr lvl="1"/>
            <a:r>
              <a:rPr lang="ru-RU" dirty="0"/>
              <a:t>Счет зачисления</a:t>
            </a:r>
            <a:endParaRPr lang="ru-RU" dirty="0"/>
          </a:p>
          <a:p>
            <a:r>
              <a:rPr lang="ru-RU" dirty="0"/>
              <a:t>Экономия при большом числе однотипных платеже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0994572" y="6599178"/>
            <a:ext cx="1022586" cy="260410"/>
          </a:xfrm>
        </p:spPr>
        <p:txBody>
          <a:bodyPr wrap="square" anchor="t">
            <a:normAutofit lnSpcReduction="10000"/>
          </a:bodyPr>
          <a:lstStyle/>
          <a:p>
            <a:pPr>
              <a:spcAft>
                <a:spcPts val="600"/>
              </a:spcAft>
              <a:defRPr/>
            </a:pPr>
            <a:fld id="{5007AF4B-D67C-4129-86EF-FE2A65D9E95E}" type="slidenum">
              <a:rPr lang="ru-RU" altLang="ru-RU" smtClean="0"/>
              <a:pPr>
                <a:spcAft>
                  <a:spcPts val="600"/>
                </a:spcAft>
                <a:defRPr/>
              </a:pPr>
              <a:t>91</a:t>
            </a:fld>
            <a:endParaRPr lang="ru-RU" altLang="ru-RU"/>
          </a:p>
        </p:txBody>
      </p:sp>
      <p:sp>
        <p:nvSpPr>
          <p:cNvPr id="5" name="Freeform 46"/>
          <p:cNvSpPr>
            <a:spLocks noChangeAspect="1" noEditPoints="1"/>
          </p:cNvSpPr>
          <p:nvPr/>
        </p:nvSpPr>
        <p:spPr bwMode="auto">
          <a:xfrm>
            <a:off x="6097586" y="1485501"/>
            <a:ext cx="850115" cy="1179750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rgbClr val="80808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6068770" y="2665250"/>
            <a:ext cx="887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Счет 1</a:t>
            </a:r>
          </a:p>
        </p:txBody>
      </p:sp>
      <p:sp>
        <p:nvSpPr>
          <p:cNvPr id="7" name="Freeform 46"/>
          <p:cNvSpPr>
            <a:spLocks noChangeAspect="1" noEditPoints="1"/>
          </p:cNvSpPr>
          <p:nvPr/>
        </p:nvSpPr>
        <p:spPr bwMode="auto">
          <a:xfrm>
            <a:off x="6198428" y="3340098"/>
            <a:ext cx="850115" cy="1179750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rgbClr val="80808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6169612" y="4519847"/>
            <a:ext cx="887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Счет 2</a:t>
            </a:r>
          </a:p>
        </p:txBody>
      </p:sp>
      <p:sp>
        <p:nvSpPr>
          <p:cNvPr id="9" name="Freeform 46"/>
          <p:cNvSpPr>
            <a:spLocks noChangeAspect="1" noEditPoints="1"/>
          </p:cNvSpPr>
          <p:nvPr/>
        </p:nvSpPr>
        <p:spPr bwMode="auto">
          <a:xfrm>
            <a:off x="6232071" y="5162977"/>
            <a:ext cx="850115" cy="1179750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rgbClr val="80808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6203255" y="6342726"/>
            <a:ext cx="887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Счет 3</a:t>
            </a:r>
          </a:p>
        </p:txBody>
      </p:sp>
      <p:sp>
        <p:nvSpPr>
          <p:cNvPr id="12" name="Блок-схема: документ 11"/>
          <p:cNvSpPr/>
          <p:nvPr/>
        </p:nvSpPr>
        <p:spPr>
          <a:xfrm>
            <a:off x="7898204" y="1673113"/>
            <a:ext cx="1440493" cy="1027920"/>
          </a:xfrm>
          <a:prstGeom prst="flowChartDocument">
            <a:avLst/>
          </a:prstGeom>
          <a:noFill/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аявка 1</a:t>
            </a:r>
          </a:p>
        </p:txBody>
      </p:sp>
      <p:sp>
        <p:nvSpPr>
          <p:cNvPr id="13" name="Блок-схема: документ 12"/>
          <p:cNvSpPr/>
          <p:nvPr/>
        </p:nvSpPr>
        <p:spPr>
          <a:xfrm>
            <a:off x="8042253" y="4406090"/>
            <a:ext cx="1440493" cy="1027920"/>
          </a:xfrm>
          <a:prstGeom prst="flowChartDocument">
            <a:avLst/>
          </a:prstGeom>
          <a:noFill/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Заявка 2</a:t>
            </a:r>
          </a:p>
        </p:txBody>
      </p:sp>
      <p:cxnSp>
        <p:nvCxnSpPr>
          <p:cNvPr id="15" name="Прямая со стрелкой 14"/>
          <p:cNvCxnSpPr>
            <a:endCxn id="12" idx="1"/>
          </p:cNvCxnSpPr>
          <p:nvPr/>
        </p:nvCxnSpPr>
        <p:spPr bwMode="auto">
          <a:xfrm>
            <a:off x="6947701" y="2187073"/>
            <a:ext cx="950503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 стрелкой 16"/>
          <p:cNvCxnSpPr>
            <a:endCxn id="13" idx="1"/>
          </p:cNvCxnSpPr>
          <p:nvPr/>
        </p:nvCxnSpPr>
        <p:spPr bwMode="auto">
          <a:xfrm flipV="1">
            <a:off x="7034129" y="4920050"/>
            <a:ext cx="1008124" cy="968266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Блок-схема: документ 19"/>
          <p:cNvSpPr/>
          <p:nvPr/>
        </p:nvSpPr>
        <p:spPr>
          <a:xfrm>
            <a:off x="10202993" y="3311744"/>
            <a:ext cx="1440493" cy="1027920"/>
          </a:xfrm>
          <a:prstGeom prst="flowChartDocument">
            <a:avLst/>
          </a:prstGeom>
          <a:noFill/>
          <a:ln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808080"/>
                </a:solidFill>
              </a:rPr>
              <a:t>Платежное поручение</a:t>
            </a:r>
          </a:p>
        </p:txBody>
      </p:sp>
      <p:cxnSp>
        <p:nvCxnSpPr>
          <p:cNvPr id="21" name="Прямая со стрелкой 15"/>
          <p:cNvCxnSpPr/>
          <p:nvPr/>
        </p:nvCxnSpPr>
        <p:spPr bwMode="auto">
          <a:xfrm>
            <a:off x="7034129" y="4087699"/>
            <a:ext cx="1008124" cy="832351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 стрелкой 15"/>
          <p:cNvCxnSpPr>
            <a:stCxn id="12" idx="3"/>
            <a:endCxn id="20" idx="0"/>
          </p:cNvCxnSpPr>
          <p:nvPr/>
        </p:nvCxnSpPr>
        <p:spPr bwMode="auto">
          <a:xfrm>
            <a:off x="9338697" y="2187074"/>
            <a:ext cx="1584543" cy="1124670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 стрелкой 15"/>
          <p:cNvCxnSpPr>
            <a:stCxn id="13" idx="3"/>
            <a:endCxn id="20" idx="2"/>
          </p:cNvCxnSpPr>
          <p:nvPr/>
        </p:nvCxnSpPr>
        <p:spPr bwMode="auto">
          <a:xfrm flipV="1">
            <a:off x="9482747" y="4271707"/>
            <a:ext cx="1440493" cy="648343"/>
          </a:xfrm>
          <a:prstGeom prst="bentConnector2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1029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Обмен с банками</a:t>
            </a:r>
            <a:endParaRPr lang="ru-RU" alt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642868" y="4836972"/>
            <a:ext cx="5975547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Текстовые файлы либо </a:t>
            </a:r>
            <a:r>
              <a:rPr lang="en-US" dirty="0">
                <a:solidFill>
                  <a:srgbClr val="808080"/>
                </a:solidFill>
              </a:rPr>
              <a:t>Host2Host (</a:t>
            </a:r>
            <a:r>
              <a:rPr lang="ru-RU" dirty="0">
                <a:solidFill>
                  <a:srgbClr val="808080"/>
                </a:solidFill>
              </a:rPr>
              <a:t>1С:ДиректБанк)</a:t>
            </a:r>
          </a:p>
          <a:p>
            <a:pPr marL="28575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Поддержка валютных платежей и выписки</a:t>
            </a:r>
          </a:p>
        </p:txBody>
      </p:sp>
      <p:sp>
        <p:nvSpPr>
          <p:cNvPr id="22" name="Freeform 99"/>
          <p:cNvSpPr>
            <a:spLocks noChangeAspect="1" noEditPoints="1"/>
          </p:cNvSpPr>
          <p:nvPr/>
        </p:nvSpPr>
        <p:spPr bwMode="auto">
          <a:xfrm>
            <a:off x="1481407" y="4574059"/>
            <a:ext cx="1303813" cy="1287834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403" y="4574059"/>
            <a:ext cx="1276350" cy="148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Блок-схема: документ 26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28" name="Блок-схема: документ 27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29" name="Блок-схема: документ 28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31" name="Блок-схема: документ 30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еестр платежей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Обмен с банками</a:t>
            </a:r>
          </a:p>
        </p:txBody>
      </p:sp>
      <p:sp>
        <p:nvSpPr>
          <p:cNvPr id="34" name="Блок-схема: документ 33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азнесение выписки</a:t>
            </a:r>
          </a:p>
        </p:txBody>
      </p:sp>
      <p:cxnSp>
        <p:nvCxnSpPr>
          <p:cNvPr id="39" name="Прямая со стрелкой 4"/>
          <p:cNvCxnSpPr>
            <a:stCxn id="27" idx="3"/>
            <a:endCxn id="56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4"/>
          <p:cNvCxnSpPr>
            <a:stCxn id="28" idx="3"/>
            <a:endCxn id="56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"/>
          <p:cNvCxnSpPr>
            <a:stCxn id="29" idx="3"/>
            <a:endCxn id="32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"/>
          <p:cNvCxnSpPr>
            <a:stCxn id="32" idx="3"/>
            <a:endCxn id="31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"/>
          <p:cNvCxnSpPr>
            <a:stCxn id="31" idx="2"/>
            <a:endCxn id="34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34" idx="1"/>
            <a:endCxn id="33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4"/>
          <p:cNvCxnSpPr>
            <a:stCxn id="33" idx="1"/>
            <a:endCxn id="36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4"/>
          <p:cNvCxnSpPr>
            <a:stCxn id="36" idx="1"/>
            <a:endCxn id="37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Блок-схема: документ 53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55" name="Прямая со стрелкой 4"/>
          <p:cNvCxnSpPr>
            <a:stCxn id="54" idx="3"/>
            <a:endCxn id="32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Блок-схема: узел 55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57" name="Прямая со стрелкой 4"/>
          <p:cNvCxnSpPr>
            <a:stCxn id="56" idx="6"/>
            <a:endCxn id="29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4"/>
          <p:cNvCxnSpPr>
            <a:stCxn id="56" idx="6"/>
            <a:endCxn id="54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4253812"/>
      </p:ext>
    </p:extLst>
  </p:cSld>
  <p:clrMapOvr>
    <a:masterClrMapping/>
  </p:clrMapOvr>
  <p:transition/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4035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Разнесение банковской выписки</a:t>
            </a:r>
            <a:endParaRPr lang="ru-RU" alt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939406" y="4900439"/>
            <a:ext cx="5448671" cy="1708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Настраиваемые шаблоны</a:t>
            </a:r>
          </a:p>
          <a:p>
            <a:pPr marL="180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Поиск договора в тексте назначения </a:t>
            </a:r>
            <a:r>
              <a:rPr lang="ru-RU" dirty="0" smtClean="0">
                <a:solidFill>
                  <a:srgbClr val="808080"/>
                </a:solidFill>
              </a:rPr>
              <a:t>платежа</a:t>
            </a:r>
          </a:p>
          <a:p>
            <a:pPr marL="180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808080"/>
                </a:solidFill>
              </a:rPr>
              <a:t>Заполнение выписки по историческим данным </a:t>
            </a:r>
            <a:r>
              <a:rPr lang="ru-RU" dirty="0" smtClean="0">
                <a:solidFill>
                  <a:srgbClr val="808080"/>
                </a:solidFill>
              </a:rPr>
              <a:t/>
            </a:r>
            <a:br>
              <a:rPr lang="ru-RU" dirty="0" smtClean="0">
                <a:solidFill>
                  <a:srgbClr val="808080"/>
                </a:solidFill>
              </a:rPr>
            </a:br>
            <a:r>
              <a:rPr lang="ru-RU" dirty="0" smtClean="0">
                <a:solidFill>
                  <a:srgbClr val="808080"/>
                </a:solidFill>
              </a:rPr>
              <a:t>на </a:t>
            </a:r>
            <a:r>
              <a:rPr lang="ru-RU" dirty="0">
                <a:solidFill>
                  <a:srgbClr val="808080"/>
                </a:solidFill>
              </a:rPr>
              <a:t>основе дерева </a:t>
            </a:r>
            <a:r>
              <a:rPr lang="ru-RU" dirty="0" smtClean="0">
                <a:solidFill>
                  <a:srgbClr val="808080"/>
                </a:solidFill>
              </a:rPr>
              <a:t>решений</a:t>
            </a:r>
            <a:endParaRPr lang="ru-RU" dirty="0" smtClean="0">
              <a:solidFill>
                <a:srgbClr val="808080"/>
              </a:solidFill>
            </a:endParaRPr>
          </a:p>
          <a:p>
            <a:pPr marL="180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808080"/>
                </a:solidFill>
              </a:rPr>
              <a:t>Минимизация </a:t>
            </a:r>
            <a:r>
              <a:rPr lang="ru-RU" dirty="0">
                <a:solidFill>
                  <a:srgbClr val="808080"/>
                </a:solidFill>
              </a:rPr>
              <a:t>ручного труда</a:t>
            </a:r>
          </a:p>
        </p:txBody>
      </p:sp>
      <p:sp>
        <p:nvSpPr>
          <p:cNvPr id="22" name="Freeform 99"/>
          <p:cNvSpPr>
            <a:spLocks noChangeAspect="1" noEditPoints="1"/>
          </p:cNvSpPr>
          <p:nvPr/>
        </p:nvSpPr>
        <p:spPr bwMode="auto">
          <a:xfrm>
            <a:off x="1487670" y="4587448"/>
            <a:ext cx="1303813" cy="1287834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2" name="Freeform 30"/>
          <p:cNvSpPr>
            <a:spLocks noChangeAspect="1" noEditPoints="1"/>
          </p:cNvSpPr>
          <p:nvPr/>
        </p:nvSpPr>
        <p:spPr bwMode="auto">
          <a:xfrm>
            <a:off x="8331266" y="4835870"/>
            <a:ext cx="1382658" cy="1039412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7" name="Блок-схема: документ 26"/>
          <p:cNvSpPr/>
          <p:nvPr/>
        </p:nvSpPr>
        <p:spPr>
          <a:xfrm>
            <a:off x="770401" y="1341563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Локальные данные</a:t>
            </a:r>
          </a:p>
        </p:txBody>
      </p:sp>
      <p:sp>
        <p:nvSpPr>
          <p:cNvPr id="28" name="Блок-схема: документ 27"/>
          <p:cNvSpPr/>
          <p:nvPr/>
        </p:nvSpPr>
        <p:spPr>
          <a:xfrm>
            <a:off x="768995" y="2140236"/>
            <a:ext cx="1435112" cy="670173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Внешние данные</a:t>
            </a:r>
          </a:p>
        </p:txBody>
      </p:sp>
      <p:sp>
        <p:nvSpPr>
          <p:cNvPr id="29" name="Блок-схема: документ 28"/>
          <p:cNvSpPr/>
          <p:nvPr/>
        </p:nvSpPr>
        <p:spPr>
          <a:xfrm>
            <a:off x="3850831" y="1335764"/>
            <a:ext cx="1435112" cy="675971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Заявк</a:t>
            </a:r>
            <a:r>
              <a:rPr lang="ru-RU" dirty="0">
                <a:solidFill>
                  <a:srgbClr val="808080"/>
                </a:solidFill>
              </a:rPr>
              <a:t>а</a:t>
            </a:r>
            <a:r>
              <a:rPr lang="ru-RU" dirty="0">
                <a:solidFill>
                  <a:srgbClr val="808080"/>
                </a:solidFill>
                <a:latin typeface="+mn-lt"/>
              </a:rPr>
              <a:t> на оплату</a:t>
            </a:r>
          </a:p>
        </p:txBody>
      </p:sp>
      <p:sp>
        <p:nvSpPr>
          <p:cNvPr id="31" name="Блок-схема: документ 30"/>
          <p:cNvSpPr/>
          <p:nvPr/>
        </p:nvSpPr>
        <p:spPr>
          <a:xfrm>
            <a:off x="8334883" y="1552060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Реестр платежей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023803" y="1631844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ый календарь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5815991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Обмен с банками</a:t>
            </a:r>
          </a:p>
        </p:txBody>
      </p:sp>
      <p:sp>
        <p:nvSpPr>
          <p:cNvPr id="36" name="Блок-схема: документ 35"/>
          <p:cNvSpPr/>
          <p:nvPr/>
        </p:nvSpPr>
        <p:spPr>
          <a:xfrm>
            <a:off x="8339490" y="3069754"/>
            <a:ext cx="1435112" cy="1008112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Платежное поручение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3292493" y="3150970"/>
            <a:ext cx="1567073" cy="845680"/>
          </a:xfrm>
          <a:prstGeom prst="roundRec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Банковская выписка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768995" y="3150970"/>
            <a:ext cx="1567073" cy="845680"/>
          </a:xfrm>
          <a:prstGeom prst="roundRect">
            <a:avLst/>
          </a:prstGeom>
          <a:solidFill>
            <a:srgbClr val="89D4CA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</a:rPr>
              <a:t>Разнесение выписки</a:t>
            </a:r>
          </a:p>
        </p:txBody>
      </p:sp>
      <p:cxnSp>
        <p:nvCxnSpPr>
          <p:cNvPr id="40" name="Прямая со стрелкой 4"/>
          <p:cNvCxnSpPr>
            <a:stCxn id="27" idx="3"/>
            <a:endCxn id="57" idx="2"/>
          </p:cNvCxnSpPr>
          <p:nvPr/>
        </p:nvCxnSpPr>
        <p:spPr>
          <a:xfrm>
            <a:off x="2205513" y="1676650"/>
            <a:ext cx="744006" cy="3993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"/>
          <p:cNvCxnSpPr>
            <a:stCxn id="28" idx="3"/>
            <a:endCxn id="57" idx="2"/>
          </p:cNvCxnSpPr>
          <p:nvPr/>
        </p:nvCxnSpPr>
        <p:spPr>
          <a:xfrm flipV="1">
            <a:off x="2204107" y="2075986"/>
            <a:ext cx="745412" cy="399337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"/>
          <p:cNvCxnSpPr>
            <a:stCxn id="29" idx="3"/>
            <a:endCxn id="33" idx="1"/>
          </p:cNvCxnSpPr>
          <p:nvPr/>
        </p:nvCxnSpPr>
        <p:spPr>
          <a:xfrm>
            <a:off x="5285943" y="1673750"/>
            <a:ext cx="737860" cy="380934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"/>
          <p:cNvCxnSpPr>
            <a:stCxn id="33" idx="3"/>
            <a:endCxn id="31" idx="1"/>
          </p:cNvCxnSpPr>
          <p:nvPr/>
        </p:nvCxnSpPr>
        <p:spPr>
          <a:xfrm>
            <a:off x="7590876" y="2054684"/>
            <a:ext cx="744007" cy="1432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4"/>
          <p:cNvCxnSpPr>
            <a:stCxn id="31" idx="2"/>
            <a:endCxn id="36" idx="0"/>
          </p:cNvCxnSpPr>
          <p:nvPr/>
        </p:nvCxnSpPr>
        <p:spPr>
          <a:xfrm>
            <a:off x="9052440" y="2493526"/>
            <a:ext cx="4607" cy="576229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4"/>
          <p:cNvCxnSpPr>
            <a:stCxn id="36" idx="1"/>
            <a:endCxn id="34" idx="3"/>
          </p:cNvCxnSpPr>
          <p:nvPr/>
        </p:nvCxnSpPr>
        <p:spPr>
          <a:xfrm flipH="1">
            <a:off x="7383064" y="3573810"/>
            <a:ext cx="956426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4"/>
          <p:cNvCxnSpPr>
            <a:stCxn id="34" idx="1"/>
            <a:endCxn id="37" idx="3"/>
          </p:cNvCxnSpPr>
          <p:nvPr/>
        </p:nvCxnSpPr>
        <p:spPr>
          <a:xfrm flipH="1">
            <a:off x="4859566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4"/>
          <p:cNvCxnSpPr>
            <a:stCxn id="37" idx="1"/>
            <a:endCxn id="39" idx="3"/>
          </p:cNvCxnSpPr>
          <p:nvPr/>
        </p:nvCxnSpPr>
        <p:spPr>
          <a:xfrm flipH="1">
            <a:off x="2336068" y="3573810"/>
            <a:ext cx="956425" cy="0"/>
          </a:xfrm>
          <a:prstGeom prst="straightConnector1">
            <a:avLst/>
          </a:prstGeom>
          <a:ln w="25400">
            <a:solidFill>
              <a:srgbClr val="FC6E5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документ 54"/>
          <p:cNvSpPr/>
          <p:nvPr/>
        </p:nvSpPr>
        <p:spPr>
          <a:xfrm>
            <a:off x="3850831" y="2162895"/>
            <a:ext cx="1435112" cy="647514"/>
          </a:xfrm>
          <a:prstGeom prst="flowChartDocument">
            <a:avLst/>
          </a:prstGeom>
          <a:solidFill>
            <a:srgbClr val="FBEAA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808080"/>
                </a:solidFill>
                <a:latin typeface="+mn-lt"/>
              </a:rPr>
              <a:t>График расчетов</a:t>
            </a:r>
          </a:p>
        </p:txBody>
      </p:sp>
      <p:cxnSp>
        <p:nvCxnSpPr>
          <p:cNvPr id="56" name="Прямая со стрелкой 4"/>
          <p:cNvCxnSpPr>
            <a:stCxn id="55" idx="3"/>
            <a:endCxn id="33" idx="1"/>
          </p:cNvCxnSpPr>
          <p:nvPr/>
        </p:nvCxnSpPr>
        <p:spPr>
          <a:xfrm flipV="1">
            <a:off x="5285943" y="2054684"/>
            <a:ext cx="737860" cy="431968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Блок-схема: узел 56"/>
          <p:cNvSpPr/>
          <p:nvPr/>
        </p:nvSpPr>
        <p:spPr>
          <a:xfrm>
            <a:off x="2949519" y="2000406"/>
            <a:ext cx="151160" cy="151160"/>
          </a:xfrm>
          <a:prstGeom prst="flowChartConnector">
            <a:avLst/>
          </a:prstGeom>
          <a:solidFill>
            <a:srgbClr val="FC6E5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08080"/>
              </a:solidFill>
            </a:endParaRPr>
          </a:p>
        </p:txBody>
      </p:sp>
      <p:cxnSp>
        <p:nvCxnSpPr>
          <p:cNvPr id="58" name="Прямая со стрелкой 4"/>
          <p:cNvCxnSpPr>
            <a:stCxn id="57" idx="6"/>
            <a:endCxn id="29" idx="1"/>
          </p:cNvCxnSpPr>
          <p:nvPr/>
        </p:nvCxnSpPr>
        <p:spPr>
          <a:xfrm flipV="1">
            <a:off x="3100679" y="1673750"/>
            <a:ext cx="750152" cy="40223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4"/>
          <p:cNvCxnSpPr>
            <a:stCxn id="57" idx="6"/>
            <a:endCxn id="55" idx="1"/>
          </p:cNvCxnSpPr>
          <p:nvPr/>
        </p:nvCxnSpPr>
        <p:spPr>
          <a:xfrm>
            <a:off x="3100679" y="2075986"/>
            <a:ext cx="750152" cy="410666"/>
          </a:xfrm>
          <a:prstGeom prst="bentConnector3">
            <a:avLst>
              <a:gd name="adj1" fmla="val 50000"/>
            </a:avLst>
          </a:prstGeom>
          <a:ln w="25400">
            <a:solidFill>
              <a:srgbClr val="FC6E5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787412"/>
      </p:ext>
    </p:extLst>
  </p:cSld>
  <p:clrMapOvr>
    <a:masterClrMapping/>
  </p:clrMapOvr>
  <p:transition/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рискам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757033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ая функциональность </a:t>
            </a:r>
            <a:br>
              <a:rPr lang="ru-RU" dirty="0"/>
            </a:br>
            <a:r>
              <a:rPr lang="ru-RU" dirty="0"/>
              <a:t>в продуктах линейки «1С: Управление Холдингом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487244"/>
              </p:ext>
            </p:extLst>
          </p:nvPr>
        </p:nvGraphicFramePr>
        <p:xfrm>
          <a:off x="408955" y="1686798"/>
          <a:ext cx="10873208" cy="4000481"/>
        </p:xfrm>
        <a:graphic>
          <a:graphicData uri="http://schemas.openxmlformats.org/drawingml/2006/table">
            <a:tbl>
              <a:tblPr firstRow="1" bandRow="1"/>
              <a:tblGrid>
                <a:gridCol w="7128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787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1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1С:УХ / 1С:</a:t>
                      </a:r>
                      <a:r>
                        <a:rPr lang="en-US" dirty="0">
                          <a:solidFill>
                            <a:srgbClr val="808080"/>
                          </a:solidFill>
                        </a:rPr>
                        <a:t>ERP</a:t>
                      </a: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.У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дение паспортов рис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е мероприятиями по предотвращению рис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из расходов на предотвращение рисков и устранение инциден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r>
                        <a:rPr lang="ru-RU" sz="1600" dirty="0" err="1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инг</a:t>
                      </a:r>
                      <a:r>
                        <a:rPr lang="ru-RU" sz="16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нтраген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ановка</a:t>
                      </a:r>
                      <a:r>
                        <a:rPr lang="ru-RU" sz="1600" baseline="0" dirty="0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редитной политики по результатам </a:t>
                      </a:r>
                      <a:r>
                        <a:rPr lang="ru-RU" sz="1600" baseline="0" dirty="0" err="1">
                          <a:solidFill>
                            <a:srgbClr val="80808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инга</a:t>
                      </a:r>
                      <a:endParaRPr lang="ru-RU" sz="1600" dirty="0">
                        <a:solidFill>
                          <a:srgbClr val="80808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58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есс-тестирование валютных и процентных рис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989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еджирование валютных и процентных рис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32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ановка лимитов размещения средств в банка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Freeform 67"/>
          <p:cNvSpPr>
            <a:spLocks noChangeAspect="1"/>
          </p:cNvSpPr>
          <p:nvPr/>
        </p:nvSpPr>
        <p:spPr bwMode="auto">
          <a:xfrm>
            <a:off x="10197627" y="2259285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7" name="Freeform 67"/>
          <p:cNvSpPr>
            <a:spLocks noChangeAspect="1"/>
          </p:cNvSpPr>
          <p:nvPr/>
        </p:nvSpPr>
        <p:spPr bwMode="auto">
          <a:xfrm>
            <a:off x="10197627" y="2734720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8" name="Freeform 67"/>
          <p:cNvSpPr>
            <a:spLocks noChangeAspect="1"/>
          </p:cNvSpPr>
          <p:nvPr/>
        </p:nvSpPr>
        <p:spPr bwMode="auto">
          <a:xfrm>
            <a:off x="10197627" y="3163822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2" name="Freeform 67"/>
          <p:cNvSpPr>
            <a:spLocks noChangeAspect="1"/>
          </p:cNvSpPr>
          <p:nvPr/>
        </p:nvSpPr>
        <p:spPr bwMode="auto">
          <a:xfrm>
            <a:off x="10197627" y="3606739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3" name="Freeform 67"/>
          <p:cNvSpPr>
            <a:spLocks noChangeAspect="1"/>
          </p:cNvSpPr>
          <p:nvPr/>
        </p:nvSpPr>
        <p:spPr bwMode="auto">
          <a:xfrm>
            <a:off x="10197627" y="4036673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5" name="Freeform 67"/>
          <p:cNvSpPr>
            <a:spLocks noChangeAspect="1"/>
          </p:cNvSpPr>
          <p:nvPr/>
        </p:nvSpPr>
        <p:spPr bwMode="auto">
          <a:xfrm>
            <a:off x="10197627" y="4476418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Freeform 67"/>
          <p:cNvSpPr>
            <a:spLocks noChangeAspect="1"/>
          </p:cNvSpPr>
          <p:nvPr/>
        </p:nvSpPr>
        <p:spPr bwMode="auto">
          <a:xfrm>
            <a:off x="10197627" y="4873447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  <p:sp>
        <p:nvSpPr>
          <p:cNvPr id="21" name="Freeform 67"/>
          <p:cNvSpPr>
            <a:spLocks noChangeAspect="1"/>
          </p:cNvSpPr>
          <p:nvPr/>
        </p:nvSpPr>
        <p:spPr bwMode="auto">
          <a:xfrm>
            <a:off x="10197627" y="5314644"/>
            <a:ext cx="216024" cy="224992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12509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5539870" y="2690813"/>
            <a:ext cx="2170635" cy="2971800"/>
          </a:xfrm>
          <a:prstGeom prst="rect">
            <a:avLst/>
          </a:prstGeom>
          <a:solidFill>
            <a:srgbClr val="DBFDAA"/>
          </a:solidFill>
          <a:ln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13" tIns="54013" rIns="54013" bIns="54013"/>
          <a:lstStyle/>
          <a:p>
            <a:pPr marL="228646" lvl="2" indent="-228646" defTabSz="990768" eaLnBrk="1" hangingPunct="1"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  <a:defRPr/>
            </a:pPr>
            <a:endParaRPr lang="ru-RU" sz="1400" i="1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88790" y="2690813"/>
            <a:ext cx="2096309" cy="2971800"/>
          </a:xfrm>
          <a:prstGeom prst="rect">
            <a:avLst/>
          </a:prstGeom>
          <a:solidFill>
            <a:srgbClr val="DBFDAA"/>
          </a:solidFill>
          <a:ln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13" tIns="54013" rIns="54013" bIns="54013"/>
          <a:lstStyle/>
          <a:p>
            <a:pPr marL="228646" lvl="2" indent="-228646" defTabSz="990768" eaLnBrk="1" hangingPunct="1"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  <a:defRPr/>
            </a:pPr>
            <a:endParaRPr lang="ru-RU" sz="1400" i="1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1923" name="Title 1"/>
          <p:cNvSpPr>
            <a:spLocks noGrp="1"/>
          </p:cNvSpPr>
          <p:nvPr>
            <p:ph type="title"/>
          </p:nvPr>
        </p:nvSpPr>
        <p:spPr>
          <a:xfrm>
            <a:off x="1430232" y="-27557"/>
            <a:ext cx="8771811" cy="10810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61" tIns="45731" rIns="91461" bIns="45731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0000"/>
              </a:lnSpc>
            </a:pPr>
            <a:r>
              <a:rPr lang="ru-RU" sz="2400" kern="1200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Общее управление рисками</a:t>
            </a:r>
            <a:endParaRPr lang="en-US" sz="2400" kern="1200" dirty="0">
              <a:solidFill>
                <a:schemeClr val="bg1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64" name="Pentagon 63"/>
          <p:cNvSpPr/>
          <p:nvPr/>
        </p:nvSpPr>
        <p:spPr>
          <a:xfrm>
            <a:off x="1057027" y="1543051"/>
            <a:ext cx="2149773" cy="939799"/>
          </a:xfrm>
          <a:prstGeom prst="homePlate">
            <a:avLst>
              <a:gd name="adj" fmla="val 33853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13" tIns="54013" rIns="54013" bIns="54013" anchor="ctr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bg1"/>
                </a:solidFill>
              </a:rPr>
              <a:t>1. Паспортизация рисков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6" name="Chevron 65"/>
          <p:cNvSpPr/>
          <p:nvPr/>
        </p:nvSpPr>
        <p:spPr>
          <a:xfrm>
            <a:off x="5255348" y="1557350"/>
            <a:ext cx="2463657" cy="923925"/>
          </a:xfrm>
          <a:prstGeom prst="chevron">
            <a:avLst>
              <a:gd name="adj" fmla="val 31973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13" rIns="0" bIns="54013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3.Инциденты и реакция на них</a:t>
            </a:r>
          </a:p>
        </p:txBody>
      </p:sp>
      <p:sp>
        <p:nvSpPr>
          <p:cNvPr id="68" name="Chevron 67"/>
          <p:cNvSpPr/>
          <p:nvPr/>
        </p:nvSpPr>
        <p:spPr>
          <a:xfrm>
            <a:off x="7506964" y="1557350"/>
            <a:ext cx="2507797" cy="923925"/>
          </a:xfrm>
          <a:prstGeom prst="chevron">
            <a:avLst>
              <a:gd name="adj" fmla="val 31973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13" rIns="0" bIns="54013" anchor="ctr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4.Отчетность и анализ</a:t>
            </a:r>
          </a:p>
        </p:txBody>
      </p:sp>
      <p:sp>
        <p:nvSpPr>
          <p:cNvPr id="20" name="Chevron 65"/>
          <p:cNvSpPr/>
          <p:nvPr/>
        </p:nvSpPr>
        <p:spPr>
          <a:xfrm>
            <a:off x="3003752" y="1557350"/>
            <a:ext cx="2463657" cy="923925"/>
          </a:xfrm>
          <a:prstGeom prst="chevron">
            <a:avLst>
              <a:gd name="adj" fmla="val 31973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13" rIns="0" bIns="54013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2.Контрольные процедуры</a:t>
            </a:r>
          </a:p>
        </p:txBody>
      </p:sp>
      <p:sp>
        <p:nvSpPr>
          <p:cNvPr id="22" name="Rectangle 12"/>
          <p:cNvSpPr/>
          <p:nvPr/>
        </p:nvSpPr>
        <p:spPr>
          <a:xfrm>
            <a:off x="3313318" y="2690813"/>
            <a:ext cx="2092931" cy="2971800"/>
          </a:xfrm>
          <a:prstGeom prst="rect">
            <a:avLst/>
          </a:prstGeom>
          <a:solidFill>
            <a:srgbClr val="DBFDAA"/>
          </a:solidFill>
          <a:ln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13" tIns="54013" rIns="54013" bIns="54013"/>
          <a:lstStyle/>
          <a:p>
            <a:pPr marL="228646" lvl="2" indent="-228646" defTabSz="990768" eaLnBrk="1" hangingPunct="1"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  <a:defRPr/>
            </a:pPr>
            <a:endParaRPr lang="ru-RU" sz="1400" i="1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23" name="Rectangle 12"/>
          <p:cNvSpPr/>
          <p:nvPr/>
        </p:nvSpPr>
        <p:spPr>
          <a:xfrm>
            <a:off x="7852573" y="2690813"/>
            <a:ext cx="2162188" cy="2971800"/>
          </a:xfrm>
          <a:prstGeom prst="rect">
            <a:avLst/>
          </a:prstGeom>
          <a:solidFill>
            <a:srgbClr val="DBFDAA"/>
          </a:solidFill>
          <a:ln>
            <a:solidFill>
              <a:schemeClr val="bg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13" tIns="54013" rIns="54013" bIns="54013"/>
          <a:lstStyle/>
          <a:p>
            <a:pPr marL="228646" lvl="2" indent="-228646" defTabSz="990768" eaLnBrk="1" hangingPunct="1"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  <a:defRPr/>
            </a:pPr>
            <a:endParaRPr lang="ru-RU" sz="1400" i="1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5545031" y="2767013"/>
            <a:ext cx="2020296" cy="2031795"/>
          </a:xfrm>
          <a:prstGeom prst="rect">
            <a:avLst/>
          </a:prstGeom>
          <a:solidFill>
            <a:srgbClr val="DBFDAA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Планирование реакции на инциденты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Регистрация инцидентов 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Регистрация реакции на инциденты</a:t>
            </a:r>
          </a:p>
        </p:txBody>
      </p:sp>
      <p:sp>
        <p:nvSpPr>
          <p:cNvPr id="295948" name="Rectangle 122"/>
          <p:cNvSpPr>
            <a:spLocks noChangeArrowheads="1"/>
          </p:cNvSpPr>
          <p:nvPr/>
        </p:nvSpPr>
        <p:spPr bwMode="auto">
          <a:xfrm>
            <a:off x="3334809" y="2767013"/>
            <a:ext cx="1871644" cy="2225225"/>
          </a:xfrm>
          <a:prstGeom prst="rect">
            <a:avLst/>
          </a:prstGeom>
          <a:solidFill>
            <a:srgbClr val="DBFDAA"/>
          </a:solidFill>
          <a:ln>
            <a:noFill/>
          </a:ln>
        </p:spPr>
        <p:txBody>
          <a:bodyPr wrap="square">
            <a:spAutoFit/>
          </a:bodyPr>
          <a:lstStyle>
            <a:lvl1pPr marL="180975" indent="-180975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808080"/>
                </a:solidFill>
                <a:cs typeface="Arial" pitchFamily="34" charset="0"/>
              </a:rPr>
              <a:t>Периодичность, сроки, этапы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ru-RU" alt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808080"/>
                </a:solidFill>
                <a:cs typeface="Arial" pitchFamily="34" charset="0"/>
              </a:rPr>
              <a:t>Информационная система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ru-RU" alt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808080"/>
                </a:solidFill>
                <a:cs typeface="Arial" pitchFamily="34" charset="0"/>
              </a:rPr>
              <a:t>Контекст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ru-RU" alt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808080"/>
                </a:solidFill>
                <a:cs typeface="Arial" pitchFamily="34" charset="0"/>
              </a:rPr>
              <a:t>Требования к результатам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ru-RU" altLang="ru-RU" sz="14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25" name="Rectangle 122"/>
          <p:cNvSpPr/>
          <p:nvPr/>
        </p:nvSpPr>
        <p:spPr>
          <a:xfrm>
            <a:off x="7844126" y="2767013"/>
            <a:ext cx="2170635" cy="1449628"/>
          </a:xfrm>
          <a:prstGeom prst="rect">
            <a:avLst/>
          </a:prstGeom>
          <a:solidFill>
            <a:srgbClr val="DBFDAA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808080"/>
                </a:solidFill>
                <a:cs typeface="Arial" pitchFamily="34" charset="0"/>
              </a:rPr>
              <a:t>Панель контролей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 err="1">
                <a:solidFill>
                  <a:srgbClr val="808080"/>
                </a:solidFill>
                <a:cs typeface="Arial" pitchFamily="34" charset="0"/>
              </a:rPr>
              <a:t>Дашборды</a:t>
            </a: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 для анализа СВК и УР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defRPr/>
            </a:pPr>
            <a:endParaRPr lang="ru-RU" alt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26" name="Rectangle 122"/>
          <p:cNvSpPr/>
          <p:nvPr/>
        </p:nvSpPr>
        <p:spPr>
          <a:xfrm>
            <a:off x="1088790" y="2767025"/>
            <a:ext cx="2096309" cy="2419684"/>
          </a:xfrm>
          <a:prstGeom prst="rect">
            <a:avLst/>
          </a:prstGeom>
          <a:solidFill>
            <a:srgbClr val="DBFDAA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Регистрация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Оценка вероятности,  потенциального  ущерба и существенности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Классификация</a:t>
            </a: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  <a:p>
            <a:pPr marL="285807" indent="-285807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808080"/>
                </a:solidFill>
                <a:cs typeface="Arial" pitchFamily="34" charset="0"/>
              </a:rPr>
              <a:t>Ответственность</a:t>
            </a:r>
          </a:p>
          <a:p>
            <a:pPr eaLnBrk="1" hangingPunct="1">
              <a:lnSpc>
                <a:spcPct val="90000"/>
              </a:lnSpc>
              <a:defRPr/>
            </a:pPr>
            <a:endParaRPr lang="ru-RU" sz="1400" dirty="0">
              <a:solidFill>
                <a:srgbClr val="808080"/>
              </a:solidFill>
              <a:cs typeface="Arial" pitchFamily="34" charset="0"/>
            </a:endParaRPr>
          </a:p>
        </p:txBody>
      </p:sp>
      <p:pic>
        <p:nvPicPr>
          <p:cNvPr id="16" name="Picture 2" descr="https://pracodawcyrp.pl/image/2018/03/mobile/pwc-strona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80" t="28040" r="34705" b="29960"/>
          <a:stretch/>
        </p:blipFill>
        <p:spPr bwMode="auto">
          <a:xfrm>
            <a:off x="10274051" y="6094090"/>
            <a:ext cx="754025" cy="58376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7290118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Кредитные риски: скоринг контрагентов</a:t>
            </a:r>
            <a:endParaRPr lang="ru-RU" altLang="ru-RU" dirty="0"/>
          </a:p>
        </p:txBody>
      </p:sp>
      <p:graphicFrame>
        <p:nvGraphicFramePr>
          <p:cNvPr id="52" name="Схема 51"/>
          <p:cNvGraphicFramePr/>
          <p:nvPr>
            <p:extLst>
              <p:ext uri="{D42A27DB-BD31-4B8C-83A1-F6EECF244321}">
                <p14:modId xmlns:p14="http://schemas.microsoft.com/office/powerpoint/2010/main" val="2364819411"/>
              </p:ext>
            </p:extLst>
          </p:nvPr>
        </p:nvGraphicFramePr>
        <p:xfrm>
          <a:off x="1628655" y="3789834"/>
          <a:ext cx="8933429" cy="302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555" name="Text Box 6"/>
          <p:cNvSpPr txBox="1">
            <a:spLocks noChangeArrowheads="1"/>
          </p:cNvSpPr>
          <p:nvPr/>
        </p:nvSpPr>
        <p:spPr bwMode="auto">
          <a:xfrm>
            <a:off x="6637337" y="189709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23565" name="TextBox 132"/>
          <p:cNvSpPr txBox="1">
            <a:spLocks noChangeArrowheads="1"/>
          </p:cNvSpPr>
          <p:nvPr/>
        </p:nvSpPr>
        <p:spPr bwMode="auto">
          <a:xfrm>
            <a:off x="5421021" y="3861842"/>
            <a:ext cx="6976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 dirty="0">
                <a:solidFill>
                  <a:srgbClr val="808080"/>
                </a:solidFill>
                <a:latin typeface="Calibri" pitchFamily="34" charset="0"/>
                <a:cs typeface="Arial" charset="0"/>
              </a:rPr>
              <a:t>Риск</a:t>
            </a:r>
          </a:p>
        </p:txBody>
      </p:sp>
      <p:sp>
        <p:nvSpPr>
          <p:cNvPr id="23566" name="TextBox 133"/>
          <p:cNvSpPr txBox="1">
            <a:spLocks noChangeArrowheads="1"/>
          </p:cNvSpPr>
          <p:nvPr/>
        </p:nvSpPr>
        <p:spPr bwMode="auto">
          <a:xfrm rot="-5400000">
            <a:off x="2033583" y="2874263"/>
            <a:ext cx="95192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808080"/>
                </a:solidFill>
                <a:latin typeface="Calibri" pitchFamily="34" charset="0"/>
                <a:cs typeface="Arial" charset="0"/>
              </a:rPr>
              <a:t>Низкая</a:t>
            </a:r>
          </a:p>
        </p:txBody>
      </p:sp>
      <p:sp>
        <p:nvSpPr>
          <p:cNvPr id="23567" name="TextBox 134"/>
          <p:cNvSpPr txBox="1">
            <a:spLocks noChangeArrowheads="1"/>
          </p:cNvSpPr>
          <p:nvPr/>
        </p:nvSpPr>
        <p:spPr bwMode="auto">
          <a:xfrm>
            <a:off x="6735648" y="3585493"/>
            <a:ext cx="113364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dirty="0">
                <a:solidFill>
                  <a:srgbClr val="808080"/>
                </a:solidFill>
                <a:latin typeface="Calibri" pitchFamily="34" charset="0"/>
                <a:cs typeface="Arial" charset="0"/>
              </a:rPr>
              <a:t>Высокий</a:t>
            </a:r>
          </a:p>
        </p:txBody>
      </p:sp>
      <p:sp>
        <p:nvSpPr>
          <p:cNvPr id="23568" name="TextBox 135"/>
          <p:cNvSpPr txBox="1">
            <a:spLocks noChangeArrowheads="1"/>
          </p:cNvSpPr>
          <p:nvPr/>
        </p:nvSpPr>
        <p:spPr bwMode="auto">
          <a:xfrm rot="-5400000">
            <a:off x="1951112" y="1693163"/>
            <a:ext cx="10994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808080"/>
                </a:solidFill>
                <a:latin typeface="Calibri" pitchFamily="34" charset="0"/>
                <a:cs typeface="Arial" charset="0"/>
              </a:rPr>
              <a:t>Высокая</a:t>
            </a:r>
          </a:p>
        </p:txBody>
      </p:sp>
      <p:sp>
        <p:nvSpPr>
          <p:cNvPr id="23569" name="TextBox 136"/>
          <p:cNvSpPr txBox="1">
            <a:spLocks noChangeArrowheads="1"/>
          </p:cNvSpPr>
          <p:nvPr/>
        </p:nvSpPr>
        <p:spPr bwMode="auto">
          <a:xfrm>
            <a:off x="3836845" y="3585493"/>
            <a:ext cx="9861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dirty="0">
                <a:solidFill>
                  <a:srgbClr val="808080"/>
                </a:solidFill>
                <a:latin typeface="Calibri" pitchFamily="34" charset="0"/>
                <a:cs typeface="Arial" charset="0"/>
              </a:rPr>
              <a:t>Низкий</a:t>
            </a:r>
          </a:p>
        </p:txBody>
      </p:sp>
      <p:sp>
        <p:nvSpPr>
          <p:cNvPr id="23570" name="TextBox 137"/>
          <p:cNvSpPr txBox="1">
            <a:spLocks noChangeArrowheads="1"/>
          </p:cNvSpPr>
          <p:nvPr/>
        </p:nvSpPr>
        <p:spPr bwMode="auto">
          <a:xfrm rot="-5400000">
            <a:off x="1301433" y="2182907"/>
            <a:ext cx="149547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rgbClr val="808080"/>
                </a:solidFill>
                <a:latin typeface="Calibri" pitchFamily="34" charset="0"/>
                <a:cs typeface="Arial" charset="0"/>
              </a:rPr>
              <a:t>Доходность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747671" y="1343516"/>
            <a:ext cx="2961481" cy="1099405"/>
            <a:chOff x="1898650" y="1127491"/>
            <a:chExt cx="2961481" cy="1099405"/>
          </a:xfrm>
        </p:grpSpPr>
        <p:sp>
          <p:nvSpPr>
            <p:cNvPr id="2" name="Прямоугольник 1"/>
            <p:cNvSpPr/>
            <p:nvPr/>
          </p:nvSpPr>
          <p:spPr>
            <a:xfrm>
              <a:off x="1898650" y="1127492"/>
              <a:ext cx="2961481" cy="1099404"/>
            </a:xfrm>
            <a:prstGeom prst="rect">
              <a:avLst/>
            </a:prstGeom>
            <a:solidFill>
              <a:srgbClr val="A6E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200" b="1" dirty="0" err="1">
                  <a:solidFill>
                    <a:srgbClr val="808080"/>
                  </a:solidFill>
                </a:rPr>
                <a:t>Постоплата</a:t>
              </a:r>
              <a:r>
                <a:rPr lang="ru-RU" sz="1200" b="1" dirty="0">
                  <a:solidFill>
                    <a:srgbClr val="808080"/>
                  </a:solidFill>
                </a:rPr>
                <a:t> </a:t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r>
                <a:rPr lang="ru-RU" sz="1200" b="1" dirty="0">
                  <a:solidFill>
                    <a:srgbClr val="808080"/>
                  </a:solidFill>
                </a:rPr>
                <a:t>80%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1902651" y="1127491"/>
              <a:ext cx="657543" cy="1094643"/>
            </a:xfrm>
            <a:prstGeom prst="rect">
              <a:avLst/>
            </a:prstGeom>
            <a:solidFill>
              <a:srgbClr val="DBFD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200" b="1" dirty="0">
                  <a:solidFill>
                    <a:srgbClr val="808080"/>
                  </a:solidFill>
                </a:rPr>
                <a:t>Аванс 20%</a:t>
              </a:r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5771908" y="1341563"/>
            <a:ext cx="2961481" cy="1099405"/>
            <a:chOff x="1898650" y="1127491"/>
            <a:chExt cx="2961481" cy="1099405"/>
          </a:xfrm>
        </p:grpSpPr>
        <p:sp>
          <p:nvSpPr>
            <p:cNvPr id="53" name="Прямоугольник 52"/>
            <p:cNvSpPr/>
            <p:nvPr/>
          </p:nvSpPr>
          <p:spPr>
            <a:xfrm>
              <a:off x="1898650" y="1127492"/>
              <a:ext cx="2961481" cy="1099404"/>
            </a:xfrm>
            <a:prstGeom prst="rect">
              <a:avLst/>
            </a:prstGeom>
            <a:solidFill>
              <a:srgbClr val="A6E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200" b="1" dirty="0" err="1">
                  <a:solidFill>
                    <a:srgbClr val="808080"/>
                  </a:solidFill>
                </a:rPr>
                <a:t>Постоплата</a:t>
              </a:r>
              <a:r>
                <a:rPr lang="ru-RU" sz="1200" b="1" dirty="0">
                  <a:solidFill>
                    <a:srgbClr val="808080"/>
                  </a:solidFill>
                </a:rPr>
                <a:t> </a:t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r>
                <a:rPr lang="ru-RU" sz="1200" b="1" dirty="0">
                  <a:solidFill>
                    <a:srgbClr val="808080"/>
                  </a:solidFill>
                </a:rPr>
                <a:t>50%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1902651" y="1127491"/>
              <a:ext cx="1517320" cy="1094643"/>
            </a:xfrm>
            <a:prstGeom prst="rect">
              <a:avLst/>
            </a:prstGeom>
            <a:solidFill>
              <a:srgbClr val="DBFD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200" b="1" dirty="0">
                  <a:solidFill>
                    <a:srgbClr val="808080"/>
                  </a:solidFill>
                </a:rPr>
                <a:t>Аванс </a:t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r>
                <a:rPr lang="ru-RU" sz="1200" b="1" dirty="0">
                  <a:solidFill>
                    <a:srgbClr val="808080"/>
                  </a:solidFill>
                </a:rPr>
                <a:t>50%</a:t>
              </a: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2769123" y="2510167"/>
            <a:ext cx="2940029" cy="1113854"/>
            <a:chOff x="1898650" y="1127491"/>
            <a:chExt cx="2961481" cy="1099405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1898650" y="1127492"/>
              <a:ext cx="2961481" cy="1099404"/>
            </a:xfrm>
            <a:prstGeom prst="rect">
              <a:avLst/>
            </a:prstGeom>
            <a:solidFill>
              <a:srgbClr val="A6E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200" b="1" dirty="0" err="1">
                  <a:solidFill>
                    <a:srgbClr val="808080"/>
                  </a:solidFill>
                </a:rPr>
                <a:t>Постоплата</a:t>
              </a:r>
              <a:r>
                <a:rPr lang="ru-RU" sz="1200" b="1" dirty="0">
                  <a:solidFill>
                    <a:srgbClr val="808080"/>
                  </a:solidFill>
                </a:rPr>
                <a:t> </a:t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r>
                <a:rPr lang="ru-RU" sz="1200" b="1" dirty="0">
                  <a:solidFill>
                    <a:srgbClr val="808080"/>
                  </a:solidFill>
                </a:rPr>
                <a:t>80%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1902651" y="1127491"/>
              <a:ext cx="1135729" cy="1094643"/>
            </a:xfrm>
            <a:prstGeom prst="rect">
              <a:avLst/>
            </a:prstGeom>
            <a:solidFill>
              <a:srgbClr val="DBFD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200" b="1" dirty="0">
                  <a:solidFill>
                    <a:srgbClr val="808080"/>
                  </a:solidFill>
                </a:rPr>
                <a:t>Аванс </a:t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r>
                <a:rPr lang="ru-RU" sz="1200" b="1" dirty="0">
                  <a:solidFill>
                    <a:srgbClr val="808080"/>
                  </a:solidFill>
                </a:rPr>
                <a:t>40%</a:t>
              </a: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5771907" y="2524616"/>
            <a:ext cx="2961481" cy="1099405"/>
            <a:chOff x="1898650" y="1127491"/>
            <a:chExt cx="2961481" cy="1099405"/>
          </a:xfrm>
        </p:grpSpPr>
        <p:sp>
          <p:nvSpPr>
            <p:cNvPr id="59" name="Прямоугольник 58"/>
            <p:cNvSpPr/>
            <p:nvPr/>
          </p:nvSpPr>
          <p:spPr>
            <a:xfrm>
              <a:off x="1898650" y="1127492"/>
              <a:ext cx="2961481" cy="1099404"/>
            </a:xfrm>
            <a:prstGeom prst="rect">
              <a:avLst/>
            </a:prstGeom>
            <a:solidFill>
              <a:srgbClr val="A6E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ru-RU" sz="1200" b="1" dirty="0">
                  <a:solidFill>
                    <a:srgbClr val="808080"/>
                  </a:solidFill>
                </a:rPr>
                <a:t/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endParaRPr lang="ru-RU" sz="1200" b="1" dirty="0">
                <a:solidFill>
                  <a:srgbClr val="808080"/>
                </a:solidFill>
              </a:endParaRP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1902651" y="1127491"/>
              <a:ext cx="2957480" cy="1094643"/>
            </a:xfrm>
            <a:prstGeom prst="rect">
              <a:avLst/>
            </a:prstGeom>
            <a:solidFill>
              <a:srgbClr val="DBFD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200" b="1" dirty="0">
                  <a:solidFill>
                    <a:srgbClr val="808080"/>
                  </a:solidFill>
                </a:rPr>
                <a:t>Аванс </a:t>
              </a:r>
              <a:br>
                <a:rPr lang="ru-RU" sz="1200" b="1" dirty="0">
                  <a:solidFill>
                    <a:srgbClr val="808080"/>
                  </a:solidFill>
                </a:rPr>
              </a:br>
              <a:r>
                <a:rPr lang="ru-RU" sz="1200" b="1" dirty="0">
                  <a:solidFill>
                    <a:srgbClr val="808080"/>
                  </a:solidFill>
                </a:rPr>
                <a:t>10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2951383"/>
      </p:ext>
    </p:extLst>
  </p:cSld>
  <p:clrMapOvr>
    <a:masterClrMapping/>
  </p:clrMapOvr>
  <p:transition/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алютные и процентные риски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1777107" y="1557586"/>
          <a:ext cx="8640960" cy="492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58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1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03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FC6E51"/>
                          </a:solidFill>
                        </a:rPr>
                        <a:t>Валютные риски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rgbClr val="FC6E51"/>
                          </a:solidFill>
                        </a:rPr>
                        <a:t>Процентные</a:t>
                      </a:r>
                      <a:r>
                        <a:rPr lang="ru-RU" b="1" baseline="0" dirty="0">
                          <a:solidFill>
                            <a:srgbClr val="FC6E51"/>
                          </a:solidFill>
                        </a:rPr>
                        <a:t> риски</a:t>
                      </a:r>
                      <a:endParaRPr lang="ru-RU" b="1" dirty="0">
                        <a:solidFill>
                          <a:srgbClr val="FC6E5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FC6E51"/>
                          </a:solidFill>
                        </a:rPr>
                        <a:t>Идентификация </a:t>
                      </a:r>
                      <a:br>
                        <a:rPr lang="ru-RU" b="1" dirty="0">
                          <a:solidFill>
                            <a:srgbClr val="FC6E51"/>
                          </a:solidFill>
                        </a:rPr>
                      </a:br>
                      <a:r>
                        <a:rPr lang="ru-RU" b="1" dirty="0">
                          <a:solidFill>
                            <a:srgbClr val="FC6E51"/>
                          </a:solidFill>
                        </a:rPr>
                        <a:t>и оценка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тресс-тестирование </a:t>
                      </a:r>
                      <a:br>
                        <a:rPr lang="ru-RU" dirty="0">
                          <a:solidFill>
                            <a:srgbClr val="808080"/>
                          </a:solidFill>
                        </a:rPr>
                      </a:b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в платежном календаре</a:t>
                      </a:r>
                    </a:p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пециализированные отчеты</a:t>
                      </a:r>
                    </a:p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Модель бюджетирования</a:t>
                      </a:r>
                    </a:p>
                    <a:p>
                      <a:pPr marL="216000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16000" marR="0" lvl="0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Стресс-тестирование </a:t>
                      </a:r>
                      <a:br>
                        <a:rPr lang="ru-RU" dirty="0">
                          <a:solidFill>
                            <a:srgbClr val="808080"/>
                          </a:solidFill>
                        </a:rPr>
                      </a:b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кредитного портфеля</a:t>
                      </a:r>
                    </a:p>
                    <a:p>
                      <a:pPr marL="216000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Модель</a:t>
                      </a:r>
                      <a:r>
                        <a:rPr lang="ru-RU" baseline="0" dirty="0">
                          <a:solidFill>
                            <a:srgbClr val="808080"/>
                          </a:solidFill>
                        </a:rPr>
                        <a:t> бюджетирования</a:t>
                      </a: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FC6E51"/>
                          </a:solidFill>
                        </a:rPr>
                        <a:t>Воздействие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Натуральное хеджирование</a:t>
                      </a:r>
                    </a:p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Интервальная оговорка </a:t>
                      </a:r>
                      <a:br>
                        <a:rPr lang="ru-RU" dirty="0">
                          <a:solidFill>
                            <a:srgbClr val="808080"/>
                          </a:solidFill>
                        </a:rPr>
                      </a:b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в договорах</a:t>
                      </a:r>
                    </a:p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Валютный своп</a:t>
                      </a:r>
                    </a:p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Валютный форвард (поставочный, расчетный)</a:t>
                      </a:r>
                    </a:p>
                    <a:p>
                      <a:pPr marL="216000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Процентный своп</a:t>
                      </a:r>
                    </a:p>
                    <a:p>
                      <a:pPr marL="216000" lvl="1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dirty="0">
                          <a:solidFill>
                            <a:srgbClr val="808080"/>
                          </a:solidFill>
                        </a:rPr>
                        <a:t>Валютно-процентный своп</a:t>
                      </a:r>
                    </a:p>
                    <a:p>
                      <a:pPr marL="216000" indent="-2160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dirty="0">
                        <a:solidFill>
                          <a:srgbClr val="80808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75261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altLang="ru-RU"/>
          </a:p>
        </p:txBody>
      </p:sp>
      <p:pic>
        <p:nvPicPr>
          <p:cNvPr id="116740" name="Picture 2" descr="C:\Users\mitrohin_s\Google Диск\Googldisk2\Маркетинг\Осень 2016\Форум ERP\Примеры\Архив\эстафета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6590"/>
            <a:ext cx="12195175" cy="9146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 txBox="1">
            <a:spLocks noChangeArrowheads="1"/>
          </p:cNvSpPr>
          <p:nvPr/>
        </p:nvSpPr>
        <p:spPr bwMode="auto">
          <a:xfrm>
            <a:off x="1422086" y="167934"/>
            <a:ext cx="8461375" cy="108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altLang="ru-RU" sz="4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С:Управление холдингом 8</a:t>
            </a:r>
          </a:p>
        </p:txBody>
      </p:sp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3325017" y="1418241"/>
            <a:ext cx="5545137" cy="1082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altLang="ru-RU" sz="30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192931" y="5662326"/>
            <a:ext cx="9109075" cy="1007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ru-RU" altLang="ru-RU" sz="20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024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7|3.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6|7.5|10.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7|14.9|1.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9.2|8.7|101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2.9|22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7|9|4.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|9.5|3.6"/>
</p:tagLst>
</file>

<file path=ppt/theme/theme1.xml><?xml version="1.0" encoding="utf-8"?>
<a:theme xmlns:a="http://schemas.openxmlformats.org/drawingml/2006/main" name="3_Оформление по умолчанию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31</Words>
  <Application>Microsoft Office PowerPoint</Application>
  <PresentationFormat>Произвольный</PresentationFormat>
  <Paragraphs>1099</Paragraphs>
  <Slides>99</Slides>
  <Notes>4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9</vt:i4>
      </vt:variant>
    </vt:vector>
  </HeadingPairs>
  <TitlesOfParts>
    <vt:vector size="109" baseType="lpstr">
      <vt:lpstr>Arial</vt:lpstr>
      <vt:lpstr>Calibri</vt:lpstr>
      <vt:lpstr>Calibri Light</vt:lpstr>
      <vt:lpstr>Proxima Nova Lt</vt:lpstr>
      <vt:lpstr>Tahoma</vt:lpstr>
      <vt:lpstr>Times New Roman</vt:lpstr>
      <vt:lpstr>Wingdings</vt:lpstr>
      <vt:lpstr>3_Оформление по умолчанию</vt:lpstr>
      <vt:lpstr>Оформление по умолчанию</vt:lpstr>
      <vt:lpstr>think-cell Slide</vt:lpstr>
      <vt:lpstr>Презентация PowerPoint</vt:lpstr>
      <vt:lpstr>Параллельное развитие функциональности казначейства</vt:lpstr>
      <vt:lpstr>Из чего состоит 1С:ERP. Управление холдингом</vt:lpstr>
      <vt:lpstr>Дополнительная функциональность  в продуктах линейки «1С: Управление Холдингом»</vt:lpstr>
      <vt:lpstr>Сквозной процесс осуществления платежей</vt:lpstr>
      <vt:lpstr>Основные блоки казначейства</vt:lpstr>
      <vt:lpstr>Управление договорами</vt:lpstr>
      <vt:lpstr>Решаемые задачи</vt:lpstr>
      <vt:lpstr>Дополнительная функциональность  в продуктах линейки «1С: Управление Холдингом»</vt:lpstr>
      <vt:lpstr>Сквозной процесс осуществления платежей</vt:lpstr>
      <vt:lpstr>38 видов договоров в 6 группах</vt:lpstr>
      <vt:lpstr>Дополнительные соглашения</vt:lpstr>
      <vt:lpstr>Возможности калькулятора графиков на примере кредита</vt:lpstr>
      <vt:lpstr>Возможности калькулятора графиков на примере кредита</vt:lpstr>
      <vt:lpstr>График расчетов</vt:lpstr>
      <vt:lpstr>Два подхода к исполнению графиков расчетов</vt:lpstr>
      <vt:lpstr>Заявки на привлечение финансирования</vt:lpstr>
      <vt:lpstr>Процесс планирования привлечения финансирования</vt:lpstr>
      <vt:lpstr>Сбор заявок на привлечение финансирования</vt:lpstr>
      <vt:lpstr>Выбор способов покрытия потребности  в финансировании</vt:lpstr>
      <vt:lpstr>Покрытие потребности в финансировании</vt:lpstr>
      <vt:lpstr>Обновление графиков финансовых инструментов при загрузке выписки</vt:lpstr>
      <vt:lpstr>АРМ «Управление отклонениями»</vt:lpstr>
      <vt:lpstr>Управление ковенантами</vt:lpstr>
      <vt:lpstr>Внутригрупповые договоры</vt:lpstr>
      <vt:lpstr>Валютный контроль</vt:lpstr>
      <vt:lpstr>Операции с векселями</vt:lpstr>
      <vt:lpstr>Операции с прочими ценными бумагами</vt:lpstr>
      <vt:lpstr>Облигации</vt:lpstr>
      <vt:lpstr>Управление  обязательствами</vt:lpstr>
      <vt:lpstr>Дополнительная функциональность  в продуктах линейки «1С: Управление Холдингом»</vt:lpstr>
      <vt:lpstr> Процесс управления обязательствами </vt:lpstr>
      <vt:lpstr>Претензионно-исковая работа</vt:lpstr>
      <vt:lpstr>Претензионно-исковая работа Представление в системе</vt:lpstr>
      <vt:lpstr>Факторинг</vt:lpstr>
      <vt:lpstr>Цессии</vt:lpstr>
      <vt:lpstr>Сторона цедента</vt:lpstr>
      <vt:lpstr>Сторона цессионария</vt:lpstr>
      <vt:lpstr>Сторона должника</vt:lpstr>
      <vt:lpstr>Внутригрупповые цессии  и отражение в бухучете</vt:lpstr>
      <vt:lpstr>Планирование и контроль операций</vt:lpstr>
      <vt:lpstr>Решаемые задачи</vt:lpstr>
      <vt:lpstr>Дополнительная функциональность  в продуктах линейки «1С: Управление Холдингом»</vt:lpstr>
      <vt:lpstr>Сквозной процесс осуществления платежей</vt:lpstr>
      <vt:lpstr>Платежные позиции – унифицированная сущность платежа</vt:lpstr>
      <vt:lpstr>Контроль лимитов</vt:lpstr>
      <vt:lpstr>Ручное управление: Правила запрета операций</vt:lpstr>
      <vt:lpstr>Согласование по произвольному маршруту</vt:lpstr>
      <vt:lpstr>Связь с контурами учета зарплаты и уплаты налогов</vt:lpstr>
      <vt:lpstr>Подтверждающие документы  в заявках на оплату</vt:lpstr>
      <vt:lpstr>Управление ликвидностью</vt:lpstr>
      <vt:lpstr>Фабрика платежей: до…</vt:lpstr>
      <vt:lpstr>…и после</vt:lpstr>
      <vt:lpstr>А можно и так</vt:lpstr>
      <vt:lpstr>Эффект от создания фабрики платежей</vt:lpstr>
      <vt:lpstr>Сквозной процесс осуществления платежей</vt:lpstr>
      <vt:lpstr>Дополнительная функциональность  в продуктах линейки «1С: Управление Холдингом»</vt:lpstr>
      <vt:lpstr>Платежный календарь</vt:lpstr>
      <vt:lpstr>Управление входящими остатками</vt:lpstr>
      <vt:lpstr>Источники данных платежного календаря</vt:lpstr>
      <vt:lpstr>Прогнозирование денежных потоков</vt:lpstr>
      <vt:lpstr>Как не утонуть под толщей заявок?</vt:lpstr>
      <vt:lpstr>Установка отборов</vt:lpstr>
      <vt:lpstr>Вывод только кассовых разрывов</vt:lpstr>
      <vt:lpstr>Интерфейс master-detail</vt:lpstr>
      <vt:lpstr>Настраиваемый перечень детальных операций</vt:lpstr>
      <vt:lpstr>Пакетная работа со списком платежей и стоп-листом</vt:lpstr>
      <vt:lpstr>Поддержка платежных дней</vt:lpstr>
      <vt:lpstr>Отображение овердрафтов и МНО </vt:lpstr>
      <vt:lpstr>Работа с наличными денежными средствами</vt:lpstr>
      <vt:lpstr>Помощь в принятии решений</vt:lpstr>
      <vt:lpstr>Помощь в принятии решений</vt:lpstr>
      <vt:lpstr>Устранение кассовых разрывов: Перенос платежной позиции</vt:lpstr>
      <vt:lpstr>Устранение кассовых разрывов</vt:lpstr>
      <vt:lpstr>Размещение свободных остатков</vt:lpstr>
      <vt:lpstr>Оптимизатор платежного календаря: «волшебная кнопка»</vt:lpstr>
      <vt:lpstr>Оптимизатор платежного календаря: гибкие настройки</vt:lpstr>
      <vt:lpstr>Оптимизатор платежного календаря: гибкие настройки</vt:lpstr>
      <vt:lpstr>Моделирование остановки платежей</vt:lpstr>
      <vt:lpstr>Планирование рефинансирования кредитов Шаг 1. Привлечение нового кредита</vt:lpstr>
      <vt:lpstr>Планирование рефинансирования кредитов Шаг 2. Погашение текущих кредитов</vt:lpstr>
      <vt:lpstr>Платежный календарь в УХ 3.2</vt:lpstr>
      <vt:lpstr>Кэш-пулинг</vt:lpstr>
      <vt:lpstr>Доверие или риск-менеджмент?</vt:lpstr>
      <vt:lpstr>Инструменты для Единого заемщика</vt:lpstr>
      <vt:lpstr>Платежи и выписка</vt:lpstr>
      <vt:lpstr>Решаемые задачи</vt:lpstr>
      <vt:lpstr>Дополнительная функциональность  в продуктах линейки «1С: Управление Холдингом»</vt:lpstr>
      <vt:lpstr>Реестр платежей</vt:lpstr>
      <vt:lpstr>Сокращение ручного труда при работе с реестрами платежей</vt:lpstr>
      <vt:lpstr>Объединение сходных позиций в одно платежное поручение</vt:lpstr>
      <vt:lpstr>Обмен с банками</vt:lpstr>
      <vt:lpstr>Разнесение банковской выписки</vt:lpstr>
      <vt:lpstr>Управление рисками</vt:lpstr>
      <vt:lpstr>Дополнительная функциональность  в продуктах линейки «1С: Управление Холдингом»</vt:lpstr>
      <vt:lpstr>Общее управление рисками</vt:lpstr>
      <vt:lpstr>Кредитные риски: скоринг контрагентов</vt:lpstr>
      <vt:lpstr>Валютные и процентные риски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2-08T09:59:48Z</dcterms:created>
  <dcterms:modified xsi:type="dcterms:W3CDTF">2022-08-15T15:21:39Z</dcterms:modified>
</cp:coreProperties>
</file>